
<file path=[Content_Types].xml><?xml version="1.0" encoding="utf-8"?>
<Types xmlns="http://schemas.openxmlformats.org/package/2006/content-types"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tags/tag6.xml" ContentType="application/vnd.openxmlformats-officedocument.presentationml.tags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1"/>
  </p:sldMasterIdLst>
  <p:notesMasterIdLst>
    <p:notesMasterId r:id="rId14"/>
  </p:notesMasterIdLst>
  <p:handoutMasterIdLst>
    <p:handoutMasterId r:id="rId15"/>
  </p:handoutMasterIdLst>
  <p:sldIdLst>
    <p:sldId id="426" r:id="rId2"/>
    <p:sldId id="960" r:id="rId3"/>
    <p:sldId id="983" r:id="rId4"/>
    <p:sldId id="985" r:id="rId5"/>
    <p:sldId id="984" r:id="rId6"/>
    <p:sldId id="986" r:id="rId7"/>
    <p:sldId id="987" r:id="rId8"/>
    <p:sldId id="990" r:id="rId9"/>
    <p:sldId id="991" r:id="rId10"/>
    <p:sldId id="989" r:id="rId11"/>
    <p:sldId id="971" r:id="rId12"/>
    <p:sldId id="982" r:id="rId13"/>
  </p:sldIdLst>
  <p:sldSz cx="9144000" cy="6858000" type="screen4x3"/>
  <p:notesSz cx="6797675" cy="9926638"/>
  <p:defaultTextStyle>
    <a:defPPr>
      <a:defRPr lang="ja-JP"/>
    </a:defPPr>
    <a:lvl1pPr marL="0" algn="l" defTabSz="4572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82">
          <p15:clr>
            <a:srgbClr val="A4A3A4"/>
          </p15:clr>
        </p15:guide>
        <p15:guide id="2" orient="horz" pos="2817">
          <p15:clr>
            <a:srgbClr val="A4A3A4"/>
          </p15:clr>
        </p15:guide>
        <p15:guide id="3" orient="horz" pos="4155">
          <p15:clr>
            <a:srgbClr val="A4A3A4"/>
          </p15:clr>
        </p15:guide>
        <p15:guide id="4" orient="horz" pos="2499">
          <p15:clr>
            <a:srgbClr val="A4A3A4"/>
          </p15:clr>
        </p15:guide>
        <p15:guide id="5" orient="horz" pos="1206">
          <p15:clr>
            <a:srgbClr val="A4A3A4"/>
          </p15:clr>
        </p15:guide>
        <p15:guide id="6" pos="2880">
          <p15:clr>
            <a:srgbClr val="A4A3A4"/>
          </p15:clr>
        </p15:guide>
        <p15:guide id="7" pos="5261">
          <p15:clr>
            <a:srgbClr val="A4A3A4"/>
          </p15:clr>
        </p15:guide>
        <p15:guide id="8" pos="498">
          <p15:clr>
            <a:srgbClr val="A4A3A4"/>
          </p15:clr>
        </p15:guide>
        <p15:guide id="9" pos="407">
          <p15:clr>
            <a:srgbClr val="A4A3A4"/>
          </p15:clr>
        </p15:guide>
        <p15:guide id="10" pos="331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86">
          <p15:clr>
            <a:srgbClr val="A4A3A4"/>
          </p15:clr>
        </p15:guide>
        <p15:guide id="2" pos="2121">
          <p15:clr>
            <a:srgbClr val="A4A3A4"/>
          </p15:clr>
        </p15:guide>
        <p15:guide id="3" orient="horz" pos="3126">
          <p15:clr>
            <a:srgbClr val="A4A3A4"/>
          </p15:clr>
        </p15:guide>
        <p15:guide id="4" pos="2142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B301B821-A1FF-4177-AEE7-76D212191A09}" styleName="보통 스타일 1 - 강조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TxStyle/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TxStyle/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FABFCF23-3B69-468F-B69F-88F6DE6A72F2}" styleName="보통 스타일 1 - 강조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TxStyle/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TxStyle/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2D5ABB26-0587-4C30-8999-92F81FD0307C}" styleName="스타일 없음, 눈금 없음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1E171933-4619-4E11-9A3F-F7608DF75F80}" styleName="보통 스타일 1 - 강조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TxStyle/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TxStyle/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TxStyle/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TxStyle/>
      <a:tcStyle>
        <a:tcBdr/>
      </a:tcStyle>
    </a:band2H>
    <a:band1V>
      <a:tcTxStyle/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TxStyle/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스타일 없음, 표 눈금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DF18680-E054-41AD-8BC1-D1AEF772440D}" styleName="보통 스타일 2 - 강조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TxStyle/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TxStyle/>
      <a:tcStyle>
        <a:tcBdr/>
      </a:tcStyle>
    </a:band2H>
    <a:band1V>
      <a:tcTxStyle/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TxStyle/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BC89EF96-8CEA-46FF-86C4-4CE0E7609802}" styleName="밝은 스타일 3 - 강조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TxStyle/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TxStyle/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73A0DAA-6AF3-43AB-8588-CEC1D06C72B9}" styleName="보통 스타일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TxStyle/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TxStyle/>
      <a:tcStyle>
        <a:tcBdr/>
      </a:tcStyle>
    </a:band2H>
    <a:band1V>
      <a:tcTxStyle/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TxStyle/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9CF1AB2-1976-4502-BF36-3FF5EA218861}" styleName="보통 스타일 4 - 강조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TxStyle/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TxStyle/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793D81CF-94F2-401A-BA57-92F5A7B2D0C5}" styleName="보통 스타일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TxStyle/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TxStyle/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D113A9D2-9D6B-4929-AA2D-F23B5EE8CBE7}" styleName="테마 스타일 2 - 강조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TxStyle/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TxStyle/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TxStyle/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TxStyle/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TxStyle/>
      <a:tcStyle>
        <a:tcBdr>
          <a:bottom>
            <a:ln>
              <a:noFill/>
            </a:ln>
          </a:bottom>
        </a:tcBdr>
      </a:tcStyle>
    </a:neCell>
  </a:tblStyle>
  <a:tblStyle styleId="{10A1B5D5-9B99-4C35-A422-299274C87663}" styleName="보통 스타일 1 - 강조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TxStyle/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TxStyle/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1FECB4D8-DB02-4DC6-A0A2-4F2EBAE1DC90}" styleName="보통 스타일 1 - 강조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TxStyle/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TxStyle/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2265" autoAdjust="0"/>
    <p:restoredTop sz="93308" autoAdjust="0"/>
  </p:normalViewPr>
  <p:slideViewPr>
    <p:cSldViewPr snapToGrid="0" snapToObjects="1">
      <p:cViewPr varScale="1">
        <p:scale>
          <a:sx n="62" d="100"/>
          <a:sy n="62" d="100"/>
        </p:scale>
        <p:origin x="516" y="102"/>
      </p:cViewPr>
      <p:guideLst>
        <p:guide orient="horz" pos="2182"/>
        <p:guide orient="horz" pos="2817"/>
        <p:guide orient="horz" pos="4155"/>
        <p:guide orient="horz" pos="2499"/>
        <p:guide orient="horz" pos="1206"/>
        <p:guide pos="2880"/>
        <p:guide pos="5261"/>
        <p:guide pos="498"/>
        <p:guide pos="407"/>
        <p:guide pos="3310"/>
      </p:guideLst>
    </p:cSldViewPr>
  </p:slideViewPr>
  <p:notesTextViewPr>
    <p:cViewPr>
      <p:scale>
        <a:sx n="150" d="100"/>
        <a:sy n="15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 showGuides="1">
      <p:cViewPr varScale="1">
        <p:scale>
          <a:sx n="96" d="100"/>
          <a:sy n="96" d="100"/>
        </p:scale>
        <p:origin x="3660" y="102"/>
      </p:cViewPr>
      <p:guideLst>
        <p:guide orient="horz" pos="3086"/>
        <p:guide pos="2121"/>
        <p:guide orient="horz" pos="3126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vert="horz" wrap="none" lIns="0" tIns="0" rIns="0" bIns="0" anchor="ctr" anchorCtr="1"/>
          <a:lstStyle/>
          <a:p>
            <a:pPr algn="l">
              <a:defRPr sz="1400" b="0" i="0" u="none">
                <a:solidFill>
                  <a:sysClr val="windowText" lastClr="000000"/>
                </a:solidFill>
                <a:latin typeface="함초롬돋움"/>
                <a:ea typeface="함초롬돋움"/>
                <a:cs typeface="함초롬돋움"/>
                <a:sym typeface="함초롬돋움"/>
              </a:defRPr>
            </a:pPr>
            <a:r>
              <a:rPr lang="ko-KR" altLang="en-US" sz="1400" b="0" i="0" u="none">
                <a:solidFill>
                  <a:sysClr val="windowText" lastClr="000000"/>
                </a:solidFill>
                <a:latin typeface="함초롬돋움"/>
                <a:ea typeface="함초롬돋움"/>
                <a:cs typeface="함초롬돋움"/>
                <a:sym typeface="함초롬돋움"/>
              </a:rPr>
              <a:t>물냉면</a:t>
            </a:r>
            <a:endParaRPr lang="ko-KR" altLang="en-US"/>
          </a:p>
        </c:rich>
      </c:tx>
      <c:overlay val="0"/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Formula</c:f>
              <c:strCache>
                <c:ptCount val="1"/>
                <c:pt idx="0">
                  <c:v>NTT_PER_AVRG_MENTN_CNT</c:v>
                </c:pt>
              </c:strCache>
            </c:strRef>
          </c:tx>
          <c:invertIfNegative val="0"/>
          <c:cat>
            <c:numRef>
              <c:f>General</c:f>
              <c:numCache>
                <c:formatCode>General</c:formatCode>
                <c:ptCount val="10"/>
                <c:pt idx="0">
                  <c:v>202008</c:v>
                </c:pt>
                <c:pt idx="1">
                  <c:v>202009</c:v>
                </c:pt>
                <c:pt idx="2">
                  <c:v>202010</c:v>
                </c:pt>
                <c:pt idx="3">
                  <c:v>202011</c:v>
                </c:pt>
                <c:pt idx="4">
                  <c:v>202012</c:v>
                </c:pt>
                <c:pt idx="5">
                  <c:v>202101</c:v>
                </c:pt>
                <c:pt idx="6">
                  <c:v>202102</c:v>
                </c:pt>
                <c:pt idx="7">
                  <c:v>202103</c:v>
                </c:pt>
                <c:pt idx="8">
                  <c:v>202104</c:v>
                </c:pt>
                <c:pt idx="9">
                  <c:v>202105</c:v>
                </c:pt>
              </c:numCache>
            </c:numRef>
          </c:cat>
          <c:val>
            <c:numRef>
              <c:f>Formula</c:f>
              <c:numCache>
                <c:formatCode>General</c:formatCode>
                <c:ptCount val="10"/>
                <c:pt idx="0">
                  <c:v>2.81E-2</c:v>
                </c:pt>
                <c:pt idx="1">
                  <c:v>2.9399999999999999E-2</c:v>
                </c:pt>
                <c:pt idx="2">
                  <c:v>2.4299999999999999E-2</c:v>
                </c:pt>
                <c:pt idx="3">
                  <c:v>2.3099999999999999E-2</c:v>
                </c:pt>
                <c:pt idx="4">
                  <c:v>2.2200000000000001E-2</c:v>
                </c:pt>
                <c:pt idx="5">
                  <c:v>2.0899999999999998E-2</c:v>
                </c:pt>
                <c:pt idx="6">
                  <c:v>2.0400000000000001E-2</c:v>
                </c:pt>
                <c:pt idx="7">
                  <c:v>2.2700000000000001E-2</c:v>
                </c:pt>
                <c:pt idx="8">
                  <c:v>2.5100000000000001E-2</c:v>
                </c:pt>
                <c:pt idx="9">
                  <c:v>2.939999999999999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512-41B7-A194-7C76522250C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372944"/>
        <c:axId val="924221215"/>
      </c:barChart>
      <c:catAx>
        <c:axId val="3372944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924221215"/>
        <c:crosses val="autoZero"/>
        <c:auto val="1"/>
        <c:lblAlgn val="ctr"/>
        <c:lblOffset val="100"/>
        <c:tickMarkSkip val="1"/>
        <c:noMultiLvlLbl val="0"/>
      </c:catAx>
      <c:valAx>
        <c:axId val="924221215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crossAx val="3372944"/>
        <c:crosses val="autoZero"/>
        <c:crossBetween val="between"/>
      </c:valAx>
      <c:spPr>
        <a:noFill/>
        <a:ln w="9525" cap="flat" cmpd="sng" algn="ctr">
          <a:noFill/>
          <a:prstDash val="solid"/>
          <a:round/>
          <a:headEnd w="med" len="med"/>
          <a:tailEnd w="med" len="med"/>
        </a:ln>
      </c:spPr>
    </c:plotArea>
    <c:plotVisOnly val="0"/>
    <c:dispBlanksAs val="gap"/>
    <c:showDLblsOverMax val="0"/>
  </c:chart>
  <c:txPr>
    <a:bodyPr rot="0" vert="horz" wrap="none" lIns="0" tIns="0" rIns="0" bIns="0" anchor="ctr" anchorCtr="1"/>
    <a:lstStyle/>
    <a:p>
      <a:pPr algn="l">
        <a:defRPr sz="1000" b="0" i="0" u="none">
          <a:latin typeface="함초롬돋움"/>
          <a:ea typeface="함초롬돋움"/>
          <a:cs typeface="함초롬돋움"/>
          <a:sym typeface="함초롬돋움"/>
        </a:defRPr>
      </a:pPr>
      <a:endParaRPr lang="ko-KR"/>
    </a:p>
  </c:txPr>
  <c:extLst>
    <c:ext uri="CC8EB2C9-7E31-499d-B8F2-F6CE61031016">
      <ho:hncChartStyle xmlns:ho="http://schemas.haansoft.com/office/8.0" layoutIndex="-1" colorIndex="0" styleIndex="0"/>
    </c:ext>
  </c:extLst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vert="horz" wrap="none" lIns="0" tIns="0" rIns="0" bIns="0" anchor="ctr" anchorCtr="1"/>
          <a:lstStyle/>
          <a:p>
            <a:pPr algn="l">
              <a:defRPr sz="1400" b="0" i="0" u="none">
                <a:solidFill>
                  <a:sysClr val="windowText" lastClr="000000"/>
                </a:solidFill>
                <a:latin typeface="함초롬돋움"/>
                <a:ea typeface="함초롬돋움"/>
                <a:cs typeface="함초롬돋움"/>
                <a:sym typeface="함초롬돋움"/>
              </a:defRPr>
            </a:pPr>
            <a:r>
              <a:rPr lang="ko-KR" altLang="en-US" sz="1400" b="0" i="0" u="none">
                <a:solidFill>
                  <a:sysClr val="windowText" lastClr="000000"/>
                </a:solidFill>
                <a:latin typeface="함초롬돋움"/>
                <a:ea typeface="함초롬돋움"/>
                <a:cs typeface="함초롬돋움"/>
                <a:sym typeface="함초롬돋움"/>
              </a:rPr>
              <a:t>비빔냉면</a:t>
            </a:r>
            <a:endParaRPr lang="ko-KR" altLang="en-US"/>
          </a:p>
        </c:rich>
      </c:tx>
      <c:layout>
        <c:manualLayout>
          <c:xMode val="edge"/>
          <c:yMode val="edge"/>
          <c:x val="0.36398803478774672"/>
          <c:y val="3.4416446454479339E-2"/>
        </c:manualLayout>
      </c:layout>
      <c:overlay val="0"/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Formula</c:f>
              <c:strCache>
                <c:ptCount val="1"/>
                <c:pt idx="0">
                  <c:v>NTT_PER_AVRG_MENTN_CNT</c:v>
                </c:pt>
              </c:strCache>
            </c:strRef>
          </c:tx>
          <c:invertIfNegative val="0"/>
          <c:cat>
            <c:numRef>
              <c:f>General</c:f>
              <c:numCache>
                <c:formatCode>General</c:formatCode>
                <c:ptCount val="10"/>
                <c:pt idx="0">
                  <c:v>202008</c:v>
                </c:pt>
                <c:pt idx="1">
                  <c:v>202009</c:v>
                </c:pt>
                <c:pt idx="2">
                  <c:v>202010</c:v>
                </c:pt>
                <c:pt idx="3">
                  <c:v>202011</c:v>
                </c:pt>
                <c:pt idx="4">
                  <c:v>202012</c:v>
                </c:pt>
                <c:pt idx="5">
                  <c:v>202101</c:v>
                </c:pt>
                <c:pt idx="6">
                  <c:v>202102</c:v>
                </c:pt>
                <c:pt idx="7">
                  <c:v>202103</c:v>
                </c:pt>
                <c:pt idx="8">
                  <c:v>202104</c:v>
                </c:pt>
                <c:pt idx="9">
                  <c:v>202105</c:v>
                </c:pt>
              </c:numCache>
            </c:numRef>
          </c:cat>
          <c:val>
            <c:numRef>
              <c:f>Formula</c:f>
              <c:numCache>
                <c:formatCode>General</c:formatCode>
                <c:ptCount val="10"/>
                <c:pt idx="0">
                  <c:v>1.95E-2</c:v>
                </c:pt>
                <c:pt idx="1">
                  <c:v>2.0899999999999998E-2</c:v>
                </c:pt>
                <c:pt idx="2">
                  <c:v>1.72E-2</c:v>
                </c:pt>
                <c:pt idx="3">
                  <c:v>1.61E-2</c:v>
                </c:pt>
                <c:pt idx="4">
                  <c:v>1.4800000000000001E-2</c:v>
                </c:pt>
                <c:pt idx="5">
                  <c:v>1.49E-2</c:v>
                </c:pt>
                <c:pt idx="6">
                  <c:v>1.55E-2</c:v>
                </c:pt>
                <c:pt idx="7">
                  <c:v>1.8499999999999999E-2</c:v>
                </c:pt>
                <c:pt idx="8">
                  <c:v>2.2100000000000002E-2</c:v>
                </c:pt>
                <c:pt idx="9">
                  <c:v>2.35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CC1-46F6-924C-88C37EF118A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2478558"/>
        <c:axId val="215069925"/>
      </c:barChart>
      <c:catAx>
        <c:axId val="12478558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215069925"/>
        <c:crosses val="autoZero"/>
        <c:auto val="1"/>
        <c:lblAlgn val="ctr"/>
        <c:lblOffset val="100"/>
        <c:tickMarkSkip val="1"/>
        <c:noMultiLvlLbl val="0"/>
      </c:catAx>
      <c:valAx>
        <c:axId val="215069925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crossAx val="12478558"/>
        <c:crosses val="autoZero"/>
        <c:crossBetween val="between"/>
      </c:valAx>
      <c:spPr>
        <a:noFill/>
        <a:ln w="9525" cap="flat" cmpd="sng" algn="ctr">
          <a:noFill/>
          <a:prstDash val="solid"/>
          <a:round/>
          <a:headEnd w="med" len="med"/>
          <a:tailEnd w="med" len="med"/>
        </a:ln>
      </c:spPr>
    </c:plotArea>
    <c:plotVisOnly val="0"/>
    <c:dispBlanksAs val="gap"/>
    <c:showDLblsOverMax val="0"/>
  </c:chart>
  <c:txPr>
    <a:bodyPr rot="0" vert="horz" wrap="none" lIns="0" tIns="0" rIns="0" bIns="0" anchor="ctr" anchorCtr="1"/>
    <a:lstStyle/>
    <a:p>
      <a:pPr algn="l">
        <a:defRPr sz="1000" b="0" i="0" u="none">
          <a:latin typeface="함초롬돋움"/>
          <a:ea typeface="함초롬돋움"/>
          <a:cs typeface="함초롬돋움"/>
          <a:sym typeface="함초롬돋움"/>
        </a:defRPr>
      </a:pPr>
      <a:endParaRPr lang="ko-KR"/>
    </a:p>
  </c:txPr>
  <c:extLst>
    <c:ext uri="CC8EB2C9-7E31-499d-B8F2-F6CE61031016">
      <ho:hncChartStyle xmlns:ho="http://schemas.haansoft.com/office/8.0" layoutIndex="-1" colorIndex="0" styleIndex="0"/>
    </c:ext>
  </c:extLst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vert="horz" wrap="none" lIns="0" tIns="0" rIns="0" bIns="0" anchor="ctr" anchorCtr="1"/>
          <a:lstStyle/>
          <a:p>
            <a:pPr algn="l">
              <a:defRPr sz="1400" b="0" i="0" u="none">
                <a:solidFill>
                  <a:sysClr val="windowText" lastClr="000000"/>
                </a:solidFill>
                <a:latin typeface="함초롬돋움"/>
                <a:ea typeface="함초롬돋움"/>
                <a:cs typeface="함초롬돋움"/>
                <a:sym typeface="함초롬돋움"/>
              </a:defRPr>
            </a:pPr>
            <a:r>
              <a:rPr lang="ko-KR" altLang="en-US" sz="1400" b="0" i="0" u="none">
                <a:solidFill>
                  <a:sysClr val="windowText" lastClr="000000"/>
                </a:solidFill>
                <a:latin typeface="함초롬돋움"/>
                <a:ea typeface="함초롬돋움"/>
                <a:cs typeface="함초롬돋움"/>
                <a:sym typeface="함초롬돋움"/>
              </a:rPr>
              <a:t>나베</a:t>
            </a:r>
            <a:r>
              <a:rPr lang="en-US" altLang="ko-KR" sz="1400" b="0" i="0" u="none">
                <a:solidFill>
                  <a:sysClr val="windowText" lastClr="000000"/>
                </a:solidFill>
                <a:latin typeface="함초롬돋움"/>
                <a:ea typeface="함초롬돋움"/>
                <a:cs typeface="함초롬돋움"/>
                <a:sym typeface="함초롬돋움"/>
              </a:rPr>
              <a:t>.</a:t>
            </a:r>
            <a:r>
              <a:rPr lang="ko-KR" altLang="en-US" sz="1400" b="0" i="0" u="none">
                <a:solidFill>
                  <a:sysClr val="windowText" lastClr="000000"/>
                </a:solidFill>
                <a:latin typeface="함초롬돋움"/>
                <a:ea typeface="함초롬돋움"/>
                <a:cs typeface="함초롬돋움"/>
                <a:sym typeface="함초롬돋움"/>
              </a:rPr>
              <a:t>전골</a:t>
            </a:r>
            <a:endParaRPr lang="ko-KR" altLang="en-US"/>
          </a:p>
        </c:rich>
      </c:tx>
      <c:overlay val="0"/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Formula</c:f>
              <c:strCache>
                <c:ptCount val="1"/>
                <c:pt idx="0">
                  <c:v>NTT_PER_AVRG_MENTN_CNT</c:v>
                </c:pt>
              </c:strCache>
            </c:strRef>
          </c:tx>
          <c:invertIfNegative val="0"/>
          <c:cat>
            <c:numRef>
              <c:f>General</c:f>
              <c:numCache>
                <c:formatCode>General</c:formatCode>
                <c:ptCount val="10"/>
                <c:pt idx="0">
                  <c:v>202008</c:v>
                </c:pt>
                <c:pt idx="1">
                  <c:v>202009</c:v>
                </c:pt>
                <c:pt idx="2">
                  <c:v>202010</c:v>
                </c:pt>
                <c:pt idx="3">
                  <c:v>202011</c:v>
                </c:pt>
                <c:pt idx="4">
                  <c:v>202012</c:v>
                </c:pt>
                <c:pt idx="5">
                  <c:v>202101</c:v>
                </c:pt>
                <c:pt idx="6">
                  <c:v>202102</c:v>
                </c:pt>
                <c:pt idx="7">
                  <c:v>202103</c:v>
                </c:pt>
                <c:pt idx="8">
                  <c:v>202104</c:v>
                </c:pt>
                <c:pt idx="9">
                  <c:v>202105</c:v>
                </c:pt>
              </c:numCache>
            </c:numRef>
          </c:cat>
          <c:val>
            <c:numRef>
              <c:f>Formula</c:f>
              <c:numCache>
                <c:formatCode>General</c:formatCode>
                <c:ptCount val="10"/>
                <c:pt idx="0">
                  <c:v>4.58E-2</c:v>
                </c:pt>
                <c:pt idx="1">
                  <c:v>4.2700000000000002E-2</c:v>
                </c:pt>
                <c:pt idx="2">
                  <c:v>4.3200000000000002E-2</c:v>
                </c:pt>
                <c:pt idx="3">
                  <c:v>4.6100000000000002E-2</c:v>
                </c:pt>
                <c:pt idx="4">
                  <c:v>4.24E-2</c:v>
                </c:pt>
                <c:pt idx="5">
                  <c:v>4.19E-2</c:v>
                </c:pt>
                <c:pt idx="6">
                  <c:v>4.1000000000000002E-2</c:v>
                </c:pt>
                <c:pt idx="7">
                  <c:v>4.24E-2</c:v>
                </c:pt>
                <c:pt idx="8">
                  <c:v>4.0399999999999998E-2</c:v>
                </c:pt>
                <c:pt idx="9">
                  <c:v>3.6900000000000002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CC7-4DE3-898E-D5BCEA241F5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6284175"/>
        <c:axId val="566268557"/>
      </c:barChart>
      <c:catAx>
        <c:axId val="26284175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566268557"/>
        <c:crosses val="autoZero"/>
        <c:auto val="1"/>
        <c:lblAlgn val="ctr"/>
        <c:lblOffset val="100"/>
        <c:tickMarkSkip val="1"/>
        <c:noMultiLvlLbl val="0"/>
      </c:catAx>
      <c:valAx>
        <c:axId val="566268557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crossAx val="26284175"/>
        <c:crosses val="autoZero"/>
        <c:crossBetween val="between"/>
      </c:valAx>
      <c:spPr>
        <a:noFill/>
        <a:ln w="9525" cap="flat" cmpd="sng" algn="ctr">
          <a:noFill/>
          <a:prstDash val="solid"/>
          <a:round/>
          <a:headEnd w="med" len="med"/>
          <a:tailEnd w="med" len="med"/>
        </a:ln>
      </c:spPr>
    </c:plotArea>
    <c:plotVisOnly val="0"/>
    <c:dispBlanksAs val="gap"/>
    <c:showDLblsOverMax val="0"/>
  </c:chart>
  <c:txPr>
    <a:bodyPr rot="0" vert="horz" wrap="none" lIns="0" tIns="0" rIns="0" bIns="0" anchor="ctr" anchorCtr="1"/>
    <a:lstStyle/>
    <a:p>
      <a:pPr algn="l">
        <a:defRPr sz="1000" b="0" i="0" u="none">
          <a:latin typeface="함초롬돋움"/>
          <a:ea typeface="함초롬돋움"/>
          <a:cs typeface="함초롬돋움"/>
          <a:sym typeface="함초롬돋움"/>
        </a:defRPr>
      </a:pPr>
      <a:endParaRPr lang="ko-KR"/>
    </a:p>
  </c:txPr>
  <c:extLst>
    <c:ext uri="CC8EB2C9-7E31-499d-B8F2-F6CE61031016">
      <ho:hncChartStyle xmlns:ho="http://schemas.haansoft.com/office/8.0" layoutIndex="-1" colorIndex="0" styleIndex="0"/>
    </c:ext>
  </c:extLst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vert="horz" wrap="none" lIns="0" tIns="0" rIns="0" bIns="0" anchor="ctr" anchorCtr="1"/>
          <a:lstStyle/>
          <a:p>
            <a:pPr algn="l">
              <a:defRPr sz="1400" b="0" i="0" u="none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ea"/>
                <a:sym typeface="+mn-ea"/>
              </a:defRPr>
            </a:pPr>
            <a:r>
              <a:rPr lang="ko-KR" altLang="en-US" sz="1400" b="0" i="0" u="none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ea"/>
                <a:sym typeface="+mn-ea"/>
              </a:rPr>
              <a:t>동치미물냉면 월별 매출량</a:t>
            </a:r>
            <a:endParaRPr lang="ko-KR" altLang="en-US"/>
          </a:p>
        </c:rich>
      </c:tx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 w="9525">
              <a:noFill/>
            </a:ln>
            <a:effectLst/>
          </c:spPr>
          <c:invertIfNegative val="0"/>
          <c:cat>
            <c:strRef>
              <c:f>[계절메뉴매출.xlsx]동치미물냉면!$A$9:$A$18</c:f>
              <c:strCache>
                <c:ptCount val="10"/>
                <c:pt idx="0">
                  <c:v>202008</c:v>
                </c:pt>
                <c:pt idx="1">
                  <c:v>202009</c:v>
                </c:pt>
                <c:pt idx="2">
                  <c:v>202010</c:v>
                </c:pt>
                <c:pt idx="3">
                  <c:v>202011</c:v>
                </c:pt>
                <c:pt idx="4">
                  <c:v>202012</c:v>
                </c:pt>
                <c:pt idx="5">
                  <c:v>202101</c:v>
                </c:pt>
                <c:pt idx="6">
                  <c:v>202102</c:v>
                </c:pt>
                <c:pt idx="7">
                  <c:v>202103</c:v>
                </c:pt>
                <c:pt idx="8">
                  <c:v>202104</c:v>
                </c:pt>
                <c:pt idx="9">
                  <c:v>202105</c:v>
                </c:pt>
              </c:strCache>
            </c:strRef>
          </c:cat>
          <c:val>
            <c:numRef>
              <c:f>[계절메뉴매출.xlsx]동치미물냉면!$B$9:$B$18</c:f>
              <c:numCache>
                <c:formatCode>General</c:formatCode>
                <c:ptCount val="10"/>
                <c:pt idx="0">
                  <c:v>1715</c:v>
                </c:pt>
                <c:pt idx="1">
                  <c:v>299</c:v>
                </c:pt>
                <c:pt idx="2">
                  <c:v>84</c:v>
                </c:pt>
                <c:pt idx="3">
                  <c:v>31</c:v>
                </c:pt>
                <c:pt idx="4">
                  <c:v>35</c:v>
                </c:pt>
                <c:pt idx="5">
                  <c:v>46</c:v>
                </c:pt>
                <c:pt idx="6">
                  <c:v>48</c:v>
                </c:pt>
                <c:pt idx="7">
                  <c:v>126</c:v>
                </c:pt>
                <c:pt idx="8">
                  <c:v>496</c:v>
                </c:pt>
                <c:pt idx="9">
                  <c:v>8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C79-4496-ACD6-F79B53D1891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794771584"/>
        <c:axId val="1794772000"/>
      </c:barChart>
      <c:catAx>
        <c:axId val="17947715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vert="horz" wrap="none" lIns="0" tIns="0" rIns="0" bIns="0" anchor="ctr" anchorCtr="1"/>
          <a:lstStyle/>
          <a:p>
            <a:pPr algn="l">
              <a:defRPr sz="900" b="0" i="0" u="none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ea"/>
                <a:sym typeface="+mn-ea"/>
              </a:defRPr>
            </a:pPr>
            <a:endParaRPr lang="ko-KR"/>
          </a:p>
        </c:txPr>
        <c:crossAx val="1794772000"/>
        <c:crosses val="autoZero"/>
        <c:auto val="1"/>
        <c:lblAlgn val="ctr"/>
        <c:lblOffset val="100"/>
        <c:tickMarkSkip val="1"/>
        <c:noMultiLvlLbl val="0"/>
      </c:catAx>
      <c:valAx>
        <c:axId val="179477200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>
            <a:noFill/>
          </a:ln>
          <a:effectLst/>
        </c:spPr>
        <c:txPr>
          <a:bodyPr rot="0" vert="horz" wrap="none" lIns="0" tIns="0" rIns="0" bIns="0" anchor="ctr" anchorCtr="1"/>
          <a:lstStyle/>
          <a:p>
            <a:pPr algn="l">
              <a:defRPr sz="900" b="0" i="0" u="none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ea"/>
                <a:sym typeface="+mn-ea"/>
              </a:defRPr>
            </a:pPr>
            <a:endParaRPr lang="ko-KR"/>
          </a:p>
        </c:txPr>
        <c:crossAx val="1794771584"/>
        <c:crosses val="autoZero"/>
        <c:crossBetween val="between"/>
      </c:valAx>
      <c:spPr>
        <a:noFill/>
        <a:ln w="9525" cap="flat" cmpd="sng" algn="ctr">
          <a:noFill/>
          <a:prstDash val="solid"/>
          <a:round/>
          <a:headEnd w="med" len="med"/>
          <a:tailEnd w="med" len="med"/>
        </a:ln>
      </c:spPr>
    </c:plotArea>
    <c:plotVisOnly val="0"/>
    <c:dispBlanksAs val="gap"/>
    <c:showDLblsOverMax val="0"/>
  </c:chart>
  <c:txPr>
    <a:bodyPr rot="0" vert="horz" wrap="none" lIns="0" tIns="0" rIns="0" bIns="0" anchor="ctr" anchorCtr="1"/>
    <a:lstStyle/>
    <a:p>
      <a:pPr algn="l">
        <a:defRPr b="0" i="0" u="none"/>
      </a:pPr>
      <a:endParaRPr lang="ko-KR"/>
    </a:p>
  </c:txPr>
  <c:extLst>
    <c:ext uri="CC8EB2C9-7E31-499d-B8F2-F6CE61031016">
      <ho:hncChartStyle xmlns:ho="http://schemas.haansoft.com/office/8.0" layoutIndex="-1" colorIndex="-1" styleIndex="-1"/>
    </c:ext>
  </c:extLst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vert="horz" wrap="none" lIns="0" tIns="0" rIns="0" bIns="0" anchor="ctr" anchorCtr="1"/>
          <a:lstStyle/>
          <a:p>
            <a:pPr algn="l">
              <a:defRPr sz="1400" b="0" i="0" u="none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ea"/>
                <a:sym typeface="+mn-ea"/>
              </a:defRPr>
            </a:pPr>
            <a:r>
              <a:rPr lang="ko-KR" altLang="en-US" sz="1400" b="0" i="0" u="none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ea"/>
                <a:sym typeface="+mn-ea"/>
              </a:rPr>
              <a:t>함흥</a:t>
            </a:r>
            <a:r>
              <a:rPr lang="en-US" altLang="ko-KR" sz="1400" b="0" i="0" u="none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ea"/>
                <a:sym typeface="+mn-ea"/>
              </a:rPr>
              <a:t>, </a:t>
            </a:r>
            <a:r>
              <a:rPr lang="ko-KR" altLang="en-US" sz="1400" b="0" i="0" u="none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ea"/>
                <a:sym typeface="+mn-ea"/>
              </a:rPr>
              <a:t>둥지비빔냉면 월별 매출량</a:t>
            </a:r>
            <a:endParaRPr lang="ko-KR" altLang="en-US"/>
          </a:p>
        </c:rich>
      </c:tx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 w="9525">
              <a:noFill/>
            </a:ln>
            <a:effectLst/>
          </c:spPr>
          <c:invertIfNegative val="0"/>
          <c:cat>
            <c:strRef>
              <c:f>[계절메뉴매출.xlsx]함흥둥지비빔냉면2!$A$9:$A$18</c:f>
              <c:strCache>
                <c:ptCount val="10"/>
                <c:pt idx="0">
                  <c:v>202008</c:v>
                </c:pt>
                <c:pt idx="1">
                  <c:v>202009</c:v>
                </c:pt>
                <c:pt idx="2">
                  <c:v>202010</c:v>
                </c:pt>
                <c:pt idx="3">
                  <c:v>202011</c:v>
                </c:pt>
                <c:pt idx="4">
                  <c:v>202012</c:v>
                </c:pt>
                <c:pt idx="5">
                  <c:v>202101</c:v>
                </c:pt>
                <c:pt idx="6">
                  <c:v>202102</c:v>
                </c:pt>
                <c:pt idx="7">
                  <c:v>202103</c:v>
                </c:pt>
                <c:pt idx="8">
                  <c:v>202104</c:v>
                </c:pt>
                <c:pt idx="9">
                  <c:v>202105</c:v>
                </c:pt>
              </c:strCache>
            </c:strRef>
          </c:cat>
          <c:val>
            <c:numRef>
              <c:f>[계절메뉴매출.xlsx]함흥둥지비빔냉면2!$B$9:$B$18</c:f>
              <c:numCache>
                <c:formatCode>General</c:formatCode>
                <c:ptCount val="10"/>
                <c:pt idx="0">
                  <c:v>1108</c:v>
                </c:pt>
                <c:pt idx="1">
                  <c:v>311</c:v>
                </c:pt>
                <c:pt idx="2">
                  <c:v>86</c:v>
                </c:pt>
                <c:pt idx="3">
                  <c:v>55</c:v>
                </c:pt>
                <c:pt idx="4">
                  <c:v>35</c:v>
                </c:pt>
                <c:pt idx="5">
                  <c:v>30</c:v>
                </c:pt>
                <c:pt idx="6">
                  <c:v>23</c:v>
                </c:pt>
                <c:pt idx="7">
                  <c:v>85</c:v>
                </c:pt>
                <c:pt idx="8">
                  <c:v>633</c:v>
                </c:pt>
                <c:pt idx="9">
                  <c:v>10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966-4594-959F-5D1A562474C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892280480"/>
        <c:axId val="1892281728"/>
      </c:barChart>
      <c:catAx>
        <c:axId val="18922804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vert="horz" wrap="none" lIns="0" tIns="0" rIns="0" bIns="0" anchor="ctr" anchorCtr="1"/>
          <a:lstStyle/>
          <a:p>
            <a:pPr algn="l">
              <a:defRPr sz="900" b="0" i="0" u="none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ea"/>
                <a:sym typeface="+mn-ea"/>
              </a:defRPr>
            </a:pPr>
            <a:endParaRPr lang="ko-KR"/>
          </a:p>
        </c:txPr>
        <c:crossAx val="1892281728"/>
        <c:crosses val="autoZero"/>
        <c:auto val="1"/>
        <c:lblAlgn val="ctr"/>
        <c:lblOffset val="100"/>
        <c:tickMarkSkip val="1"/>
        <c:noMultiLvlLbl val="0"/>
      </c:catAx>
      <c:valAx>
        <c:axId val="189228172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>
            <a:noFill/>
          </a:ln>
          <a:effectLst/>
        </c:spPr>
        <c:txPr>
          <a:bodyPr rot="0" vert="horz" wrap="none" lIns="0" tIns="0" rIns="0" bIns="0" anchor="ctr" anchorCtr="1"/>
          <a:lstStyle/>
          <a:p>
            <a:pPr algn="l">
              <a:defRPr sz="900" b="0" i="0" u="none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ea"/>
                <a:sym typeface="+mn-ea"/>
              </a:defRPr>
            </a:pPr>
            <a:endParaRPr lang="ko-KR"/>
          </a:p>
        </c:txPr>
        <c:crossAx val="1892280480"/>
        <c:crosses val="autoZero"/>
        <c:crossBetween val="between"/>
      </c:valAx>
      <c:spPr>
        <a:noFill/>
        <a:ln w="9525" cap="flat" cmpd="sng" algn="ctr">
          <a:noFill/>
          <a:prstDash val="solid"/>
          <a:round/>
          <a:headEnd w="med" len="med"/>
          <a:tailEnd w="med" len="med"/>
        </a:ln>
      </c:spPr>
    </c:plotArea>
    <c:plotVisOnly val="0"/>
    <c:dispBlanksAs val="gap"/>
    <c:showDLblsOverMax val="0"/>
  </c:chart>
  <c:txPr>
    <a:bodyPr rot="0" vert="horz" wrap="none" lIns="0" tIns="0" rIns="0" bIns="0" anchor="ctr" anchorCtr="1"/>
    <a:lstStyle/>
    <a:p>
      <a:pPr algn="l">
        <a:defRPr b="0" i="0" u="none"/>
      </a:pPr>
      <a:endParaRPr lang="ko-KR"/>
    </a:p>
  </c:txPr>
  <c:extLst>
    <c:ext uri="CC8EB2C9-7E31-499d-B8F2-F6CE61031016">
      <ho:hncChartStyle xmlns:ho="http://schemas.haansoft.com/office/8.0" layoutIndex="-1" colorIndex="-1" styleIndex="-1"/>
    </c:ext>
  </c:extLst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vert="horz" wrap="none" lIns="0" tIns="0" rIns="0" bIns="0" anchor="ctr" anchorCtr="1"/>
          <a:lstStyle/>
          <a:p>
            <a:pPr algn="l">
              <a:defRPr sz="1400" b="0" i="0" u="none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ea"/>
                <a:sym typeface="+mn-ea"/>
              </a:defRPr>
            </a:pPr>
            <a:r>
              <a:rPr lang="ko-KR" altLang="en-US" sz="1400" b="0" i="0" u="none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ea"/>
                <a:sym typeface="+mn-ea"/>
              </a:rPr>
              <a:t>냉면 월별 매입량</a:t>
            </a:r>
            <a:endParaRPr lang="ko-KR" altLang="en-US"/>
          </a:p>
        </c:rich>
      </c:tx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 w="9525">
              <a:noFill/>
            </a:ln>
            <a:effectLst/>
          </c:spPr>
          <c:invertIfNegative val="0"/>
          <c:cat>
            <c:strRef>
              <c:f>[계절메뉴매입.xlsx]냉면!$A$2:$A$11</c:f>
              <c:strCache>
                <c:ptCount val="10"/>
                <c:pt idx="0">
                  <c:v>202008</c:v>
                </c:pt>
                <c:pt idx="1">
                  <c:v>202009</c:v>
                </c:pt>
                <c:pt idx="2">
                  <c:v>202010</c:v>
                </c:pt>
                <c:pt idx="3">
                  <c:v>202011</c:v>
                </c:pt>
                <c:pt idx="4">
                  <c:v>202012</c:v>
                </c:pt>
                <c:pt idx="5">
                  <c:v>202101</c:v>
                </c:pt>
                <c:pt idx="6">
                  <c:v>202102</c:v>
                </c:pt>
                <c:pt idx="7">
                  <c:v>202103</c:v>
                </c:pt>
                <c:pt idx="8">
                  <c:v>202104</c:v>
                </c:pt>
                <c:pt idx="9">
                  <c:v>202105</c:v>
                </c:pt>
              </c:strCache>
            </c:strRef>
          </c:cat>
          <c:val>
            <c:numRef>
              <c:f>[계절메뉴매입.xlsx]냉면!$B$2:$B$11</c:f>
              <c:numCache>
                <c:formatCode>General</c:formatCode>
                <c:ptCount val="10"/>
                <c:pt idx="0">
                  <c:v>13517</c:v>
                </c:pt>
                <c:pt idx="1">
                  <c:v>3463</c:v>
                </c:pt>
                <c:pt idx="2">
                  <c:v>976</c:v>
                </c:pt>
                <c:pt idx="3">
                  <c:v>2542</c:v>
                </c:pt>
                <c:pt idx="4">
                  <c:v>2595</c:v>
                </c:pt>
                <c:pt idx="5">
                  <c:v>2776</c:v>
                </c:pt>
                <c:pt idx="6">
                  <c:v>3345</c:v>
                </c:pt>
                <c:pt idx="7">
                  <c:v>5149</c:v>
                </c:pt>
                <c:pt idx="8">
                  <c:v>8081</c:v>
                </c:pt>
                <c:pt idx="9">
                  <c:v>96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866-4F00-8AA9-577109E89B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945943568"/>
        <c:axId val="1795025648"/>
      </c:barChart>
      <c:catAx>
        <c:axId val="19459435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vert="horz" wrap="none" lIns="0" tIns="0" rIns="0" bIns="0" anchor="ctr" anchorCtr="1"/>
          <a:lstStyle/>
          <a:p>
            <a:pPr algn="l">
              <a:defRPr sz="900" b="0" i="0" u="none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ea"/>
                <a:sym typeface="+mn-ea"/>
              </a:defRPr>
            </a:pPr>
            <a:endParaRPr lang="ko-KR"/>
          </a:p>
        </c:txPr>
        <c:crossAx val="1795025648"/>
        <c:crosses val="autoZero"/>
        <c:auto val="1"/>
        <c:lblAlgn val="ctr"/>
        <c:lblOffset val="100"/>
        <c:tickMarkSkip val="1"/>
        <c:noMultiLvlLbl val="0"/>
      </c:catAx>
      <c:valAx>
        <c:axId val="1795025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>
            <a:noFill/>
          </a:ln>
          <a:effectLst/>
        </c:spPr>
        <c:txPr>
          <a:bodyPr rot="0" vert="horz" wrap="none" lIns="0" tIns="0" rIns="0" bIns="0" anchor="ctr" anchorCtr="1"/>
          <a:lstStyle/>
          <a:p>
            <a:pPr algn="l">
              <a:defRPr sz="900" b="0" i="0" u="none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ea"/>
                <a:sym typeface="+mn-ea"/>
              </a:defRPr>
            </a:pPr>
            <a:endParaRPr lang="ko-KR"/>
          </a:p>
        </c:txPr>
        <c:crossAx val="1945943568"/>
        <c:crosses val="autoZero"/>
        <c:crossBetween val="between"/>
      </c:valAx>
      <c:spPr>
        <a:noFill/>
        <a:ln w="9525" cap="flat" cmpd="sng" algn="ctr">
          <a:noFill/>
          <a:prstDash val="solid"/>
          <a:round/>
          <a:headEnd w="med" len="med"/>
          <a:tailEnd w="med" len="med"/>
        </a:ln>
      </c:spPr>
    </c:plotArea>
    <c:plotVisOnly val="0"/>
    <c:dispBlanksAs val="gap"/>
    <c:showDLblsOverMax val="0"/>
  </c:chart>
  <c:txPr>
    <a:bodyPr rot="0" vert="horz" wrap="none" lIns="0" tIns="0" rIns="0" bIns="0" anchor="ctr" anchorCtr="1"/>
    <a:lstStyle/>
    <a:p>
      <a:pPr algn="l">
        <a:defRPr b="0" i="0" u="none"/>
      </a:pPr>
      <a:endParaRPr lang="ko-KR"/>
    </a:p>
  </c:txPr>
  <c:extLst>
    <c:ext uri="CC8EB2C9-7E31-499d-B8F2-F6CE61031016">
      <ho:hncChartStyle xmlns:ho="http://schemas.haansoft.com/office/8.0" layoutIndex="-1" colorIndex="-1" styleIndex="-1"/>
    </c:ext>
  </c:extLst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4"/>
            <a:ext cx="2945659" cy="496331"/>
          </a:xfrm>
          <a:prstGeom prst="rect">
            <a:avLst/>
          </a:prstGeom>
        </p:spPr>
        <p:txBody>
          <a:bodyPr vert="horz" lIns="95522" tIns="47761" rIns="95522" bIns="47761" rtlCol="0"/>
          <a:lstStyle>
            <a:lvl1pPr algn="l">
              <a:defRPr sz="1200"/>
            </a:lvl1pPr>
          </a:lstStyle>
          <a:p>
            <a:pPr lvl="0"/>
            <a:endParaRPr kumimoji="1" lang="ja-JP" alt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5" y="4"/>
            <a:ext cx="2945659" cy="496331"/>
          </a:xfrm>
          <a:prstGeom prst="rect">
            <a:avLst/>
          </a:prstGeom>
        </p:spPr>
        <p:txBody>
          <a:bodyPr vert="horz" lIns="95522" tIns="47761" rIns="95522" bIns="47761" rtlCol="0"/>
          <a:lstStyle>
            <a:lvl1pPr algn="r">
              <a:defRPr sz="1200"/>
            </a:lvl1pPr>
          </a:lstStyle>
          <a:p>
            <a:pPr lvl="0"/>
            <a:fld id="{60B661A8-6784-7E47-89FE-04C1884E396A}" type="datetime1">
              <a:rPr kumimoji="1" lang="ja-JP" altLang="en-US" smtClean="0"/>
              <a:pPr lvl="0"/>
              <a:t>2021/12/3</a:t>
            </a:fld>
            <a:endParaRPr kumimoji="1" lang="ja-JP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9428586"/>
            <a:ext cx="2945659" cy="496331"/>
          </a:xfrm>
          <a:prstGeom prst="rect">
            <a:avLst/>
          </a:prstGeom>
        </p:spPr>
        <p:txBody>
          <a:bodyPr vert="horz" lIns="95522" tIns="47761" rIns="95522" bIns="47761" rtlCol="0" anchor="b"/>
          <a:lstStyle>
            <a:lvl1pPr algn="l">
              <a:defRPr sz="1200"/>
            </a:lvl1pPr>
          </a:lstStyle>
          <a:p>
            <a:pPr lvl="0"/>
            <a:endParaRPr kumimoji="1" lang="ja-JP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5" y="9428586"/>
            <a:ext cx="2945659" cy="496331"/>
          </a:xfrm>
          <a:prstGeom prst="rect">
            <a:avLst/>
          </a:prstGeom>
        </p:spPr>
        <p:txBody>
          <a:bodyPr vert="horz" lIns="95522" tIns="47761" rIns="95522" bIns="47761" rtlCol="0" anchor="b"/>
          <a:lstStyle>
            <a:lvl1pPr algn="r">
              <a:defRPr sz="1200"/>
            </a:lvl1pPr>
          </a:lstStyle>
          <a:p>
            <a:pPr lvl="0"/>
            <a:fld id="{BF5858B6-80F7-EC44-998C-40E698DD5F4B}" type="slidenum">
              <a:rPr kumimoji="1" lang="ja-JP" altLang="en-US" smtClean="0"/>
              <a:pPr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154208437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4"/>
            <a:ext cx="2945659" cy="496331"/>
          </a:xfrm>
          <a:prstGeom prst="rect">
            <a:avLst/>
          </a:prstGeom>
        </p:spPr>
        <p:txBody>
          <a:bodyPr vert="horz" lIns="95522" tIns="47761" rIns="95522" bIns="47761" rtlCol="0"/>
          <a:lstStyle>
            <a:lvl1pPr algn="l">
              <a:defRPr sz="1200"/>
            </a:lvl1pPr>
          </a:lstStyle>
          <a:p>
            <a:pPr lvl="0"/>
            <a:endParaRPr kumimoji="1" lang="ja-JP" alt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5" y="4"/>
            <a:ext cx="2945659" cy="496331"/>
          </a:xfrm>
          <a:prstGeom prst="rect">
            <a:avLst/>
          </a:prstGeom>
        </p:spPr>
        <p:txBody>
          <a:bodyPr vert="horz" lIns="95522" tIns="47761" rIns="95522" bIns="47761" rtlCol="0"/>
          <a:lstStyle>
            <a:lvl1pPr algn="r">
              <a:defRPr sz="1200"/>
            </a:lvl1pPr>
          </a:lstStyle>
          <a:p>
            <a:pPr lvl="0"/>
            <a:fld id="{03BBC4EA-5F4A-AC4B-BD7B-5997855CF4CB}" type="datetime1">
              <a:rPr kumimoji="1" lang="ja-JP" altLang="en-US" smtClean="0"/>
              <a:pPr lvl="0"/>
              <a:t>2021/12/3</a:t>
            </a:fld>
            <a:endParaRPr kumimoji="1" lang="ja-JP" altLang="en-US"/>
          </a:p>
        </p:txBody>
      </p:sp>
      <p:sp>
        <p:nvSpPr>
          <p:cNvPr id="4" name="Slide Image Placeholder 3"/>
          <p:cNvSpPr>
            <a:spLocks noGrp="1" noRot="1" noChangeAspect="1" noTextEdit="1"/>
          </p:cNvSpPr>
          <p:nvPr>
            <p:ph type="sldImg" idx="2"/>
          </p:nvPr>
        </p:nvSpPr>
        <p:spPr>
          <a:xfrm>
            <a:off x="919163" y="744538"/>
            <a:ext cx="4959350" cy="37195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522" tIns="47761" rIns="95522" bIns="47761" rtlCol="0" anchor="ctr"/>
          <a:lstStyle/>
          <a:p>
            <a:pPr lvl="0"/>
            <a:endParaRPr lang="ja-JP" alt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7"/>
            <a:ext cx="5438140" cy="4466987"/>
          </a:xfrm>
          <a:prstGeom prst="rect">
            <a:avLst/>
          </a:prstGeom>
        </p:spPr>
        <p:txBody>
          <a:bodyPr vert="horz" lIns="95522" tIns="47761" rIns="95522" bIns="47761" rtlCol="0"/>
          <a:lstStyle/>
          <a:p>
            <a:pPr lvl="0"/>
            <a:r>
              <a:rPr kumimoji="1" lang="en-US" altLang="ko-KR"/>
              <a:t>Click to edit Master text styles</a:t>
            </a:r>
          </a:p>
          <a:p>
            <a:pPr lvl="1"/>
            <a:r>
              <a:rPr kumimoji="1" lang="en-US" altLang="ko-KR"/>
              <a:t>Second level</a:t>
            </a:r>
          </a:p>
          <a:p>
            <a:pPr lvl="2"/>
            <a:r>
              <a:rPr kumimoji="1" lang="en-US" altLang="ko-KR"/>
              <a:t>Third level</a:t>
            </a:r>
          </a:p>
          <a:p>
            <a:pPr lvl="3"/>
            <a:r>
              <a:rPr kumimoji="1" lang="en-US" altLang="ko-KR"/>
              <a:t>Fourth level</a:t>
            </a:r>
          </a:p>
          <a:p>
            <a:pPr lvl="4"/>
            <a:r>
              <a:rPr kumimoji="1" lang="en-US" altLang="ko-KR"/>
              <a:t>Fifth level</a:t>
            </a:r>
            <a:endParaRPr kumimoji="1" lang="ja-JP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4" y="9428586"/>
            <a:ext cx="2945659" cy="496331"/>
          </a:xfrm>
          <a:prstGeom prst="rect">
            <a:avLst/>
          </a:prstGeom>
        </p:spPr>
        <p:txBody>
          <a:bodyPr vert="horz" lIns="95522" tIns="47761" rIns="95522" bIns="47761" rtlCol="0" anchor="b"/>
          <a:lstStyle>
            <a:lvl1pPr algn="l">
              <a:defRPr sz="1200"/>
            </a:lvl1pPr>
          </a:lstStyle>
          <a:p>
            <a:pPr lvl="0"/>
            <a:endParaRPr kumimoji="1"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5" y="9428586"/>
            <a:ext cx="2945659" cy="496331"/>
          </a:xfrm>
          <a:prstGeom prst="rect">
            <a:avLst/>
          </a:prstGeom>
        </p:spPr>
        <p:txBody>
          <a:bodyPr vert="horz" lIns="95522" tIns="47761" rIns="95522" bIns="47761" rtlCol="0" anchor="b"/>
          <a:lstStyle>
            <a:lvl1pPr algn="r">
              <a:defRPr sz="1200"/>
            </a:lvl1pPr>
          </a:lstStyle>
          <a:p>
            <a:pPr lvl="0"/>
            <a:fld id="{7A27B9CE-F948-AA4A-A63A-493473BC6FE8}" type="slidenum">
              <a:rPr kumimoji="1" lang="ja-JP" altLang="en-US" smtClean="0"/>
              <a:pPr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198227690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kumimoji="1" sz="10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kumimoji="1" sz="10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kumimoji="1" sz="10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kumimoji="1" sz="10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kumimoji="1" sz="10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A27B9CE-F948-AA4A-A63A-493473BC6FE8}" type="slidenum">
              <a:rPr kumimoji="1" lang="ja-JP" altLang="en-US" smtClean="0"/>
              <a:pPr/>
              <a:t>1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56523766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A27B9CE-F948-AA4A-A63A-493473BC6FE8}" type="slidenum">
              <a:rPr kumimoji="1" lang="ja-JP" altLang="en-US" smtClean="0"/>
              <a:pPr/>
              <a:t>3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15428095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A27B9CE-F948-AA4A-A63A-493473BC6FE8}" type="slidenum">
              <a:rPr kumimoji="1" lang="ja-JP" altLang="en-US" smtClean="0"/>
              <a:pPr/>
              <a:t>11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27598618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A27B9CE-F948-AA4A-A63A-493473BC6FE8}" type="slidenum">
              <a:rPr kumimoji="1" lang="ja-JP" altLang="en-US" smtClean="0"/>
              <a:pPr/>
              <a:t>12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1056485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181745" y="1673071"/>
            <a:ext cx="7599792" cy="495300"/>
          </a:xfrm>
        </p:spPr>
        <p:txBody>
          <a:bodyPr anchor="ctr">
            <a:normAutofit/>
          </a:bodyPr>
          <a:lstStyle>
            <a:lvl1pPr marL="0" indent="0">
              <a:buNone/>
              <a:defRPr kumimoji="1" lang="ko-KR" altLang="en-US" sz="1600" b="1" kern="1200" spc="-150" baseline="0" dirty="0" smtClean="0">
                <a:solidFill>
                  <a:schemeClr val="tx1"/>
                </a:solidFill>
                <a:latin typeface="+mn-ea"/>
                <a:ea typeface="+mn-ea"/>
                <a:cs typeface="Malgun Gothic"/>
              </a:defRPr>
            </a:lvl1pPr>
          </a:lstStyle>
          <a:p>
            <a:pPr lvl="0"/>
            <a:r>
              <a:rPr kumimoji="1" lang="ko-KR" altLang="en-US" dirty="0"/>
              <a:t>마스터 텍스트 스타일을 편집합니다</a:t>
            </a:r>
          </a:p>
        </p:txBody>
      </p:sp>
      <p:sp>
        <p:nvSpPr>
          <p:cNvPr id="33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1181745" y="2506176"/>
            <a:ext cx="7599792" cy="495300"/>
          </a:xfrm>
        </p:spPr>
        <p:txBody>
          <a:bodyPr anchor="ctr">
            <a:normAutofit/>
          </a:bodyPr>
          <a:lstStyle>
            <a:lvl1pPr marL="0" indent="0">
              <a:buNone/>
              <a:defRPr kumimoji="1" lang="ko-KR" altLang="en-US" sz="1600" b="1" kern="1200" spc="-150" baseline="0" dirty="0" smtClean="0">
                <a:ln w="3175">
                  <a:solidFill>
                    <a:schemeClr val="tx1">
                      <a:alpha val="7000"/>
                    </a:schemeClr>
                  </a:solidFill>
                </a:ln>
                <a:solidFill>
                  <a:schemeClr val="tx1"/>
                </a:solidFill>
                <a:latin typeface="+mn-ea"/>
                <a:ea typeface="+mn-ea"/>
                <a:cs typeface="Malgun Gothic"/>
              </a:defRPr>
            </a:lvl1pPr>
          </a:lstStyle>
          <a:p>
            <a:pPr marL="0" lvl="0" indent="0" algn="l" defTabSz="457200" rtl="0" eaLnBrk="1" latinLnBrk="1" hangingPunct="1">
              <a:lnSpc>
                <a:spcPct val="100000"/>
              </a:lnSpc>
              <a:spcBef>
                <a:spcPts val="600"/>
              </a:spcBef>
              <a:buClr>
                <a:srgbClr val="12315D"/>
              </a:buClr>
              <a:buSzPct val="100000"/>
              <a:buFont typeface="Wingdings" charset="2"/>
              <a:buNone/>
            </a:pPr>
            <a:r>
              <a:rPr kumimoji="1" lang="ko-KR" altLang="en-US" dirty="0"/>
              <a:t>마스터 텍스트 스타일을 편집합니다</a:t>
            </a:r>
          </a:p>
        </p:txBody>
      </p:sp>
      <p:sp>
        <p:nvSpPr>
          <p:cNvPr id="34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1181745" y="3381938"/>
            <a:ext cx="7599792" cy="495300"/>
          </a:xfrm>
        </p:spPr>
        <p:txBody>
          <a:bodyPr anchor="ctr">
            <a:normAutofit/>
          </a:bodyPr>
          <a:lstStyle>
            <a:lvl1pPr marL="0" indent="0">
              <a:buNone/>
              <a:defRPr kumimoji="1" lang="ko-KR" altLang="en-US" sz="1600" b="1" kern="1200" spc="-150" baseline="0" dirty="0" smtClean="0">
                <a:ln w="3175">
                  <a:solidFill>
                    <a:schemeClr val="tx1">
                      <a:alpha val="7000"/>
                    </a:schemeClr>
                  </a:solidFill>
                </a:ln>
                <a:solidFill>
                  <a:schemeClr val="tx1"/>
                </a:solidFill>
                <a:latin typeface="+mn-ea"/>
                <a:ea typeface="+mn-ea"/>
                <a:cs typeface="Malgun Gothic"/>
              </a:defRPr>
            </a:lvl1pPr>
          </a:lstStyle>
          <a:p>
            <a:pPr marL="0" lvl="0" indent="0" algn="l" defTabSz="457200" rtl="0" eaLnBrk="1" latinLnBrk="1" hangingPunct="1">
              <a:lnSpc>
                <a:spcPct val="100000"/>
              </a:lnSpc>
              <a:spcBef>
                <a:spcPts val="600"/>
              </a:spcBef>
              <a:buClr>
                <a:srgbClr val="12315D"/>
              </a:buClr>
              <a:buSzPct val="100000"/>
              <a:buFont typeface="Wingdings" charset="2"/>
              <a:buNone/>
            </a:pPr>
            <a:r>
              <a:rPr kumimoji="1" lang="ko-KR" altLang="en-US" dirty="0"/>
              <a:t>마스터 텍스트 스타일을 편집합니다</a:t>
            </a:r>
          </a:p>
        </p:txBody>
      </p:sp>
      <p:sp>
        <p:nvSpPr>
          <p:cNvPr id="35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1181745" y="4252924"/>
            <a:ext cx="7599792" cy="495300"/>
          </a:xfrm>
        </p:spPr>
        <p:txBody>
          <a:bodyPr anchor="ctr">
            <a:normAutofit/>
          </a:bodyPr>
          <a:lstStyle>
            <a:lvl1pPr marL="0" indent="0">
              <a:buNone/>
              <a:defRPr kumimoji="1" lang="ko-KR" altLang="en-US" sz="1600" b="1" kern="1200" spc="-150" baseline="0" dirty="0" smtClean="0">
                <a:ln w="3175">
                  <a:solidFill>
                    <a:schemeClr val="tx1">
                      <a:alpha val="7000"/>
                    </a:schemeClr>
                  </a:solidFill>
                </a:ln>
                <a:solidFill>
                  <a:schemeClr val="tx1"/>
                </a:solidFill>
                <a:latin typeface="+mn-ea"/>
                <a:ea typeface="+mn-ea"/>
                <a:cs typeface="Malgun Gothic"/>
              </a:defRPr>
            </a:lvl1pPr>
          </a:lstStyle>
          <a:p>
            <a:pPr marL="0" lvl="0" indent="0" algn="l" defTabSz="457200" rtl="0" eaLnBrk="1" latinLnBrk="1" hangingPunct="1">
              <a:lnSpc>
                <a:spcPct val="100000"/>
              </a:lnSpc>
              <a:spcBef>
                <a:spcPts val="600"/>
              </a:spcBef>
              <a:buClr>
                <a:srgbClr val="12315D"/>
              </a:buClr>
              <a:buSzPct val="100000"/>
              <a:buFont typeface="Wingdings" charset="2"/>
              <a:buNone/>
            </a:pPr>
            <a:r>
              <a:rPr kumimoji="1" lang="ko-KR" altLang="en-US" dirty="0"/>
              <a:t>마스터 텍스트 스타일을 편집합니다</a:t>
            </a:r>
          </a:p>
        </p:txBody>
      </p:sp>
      <p:sp>
        <p:nvSpPr>
          <p:cNvPr id="36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1181745" y="5148473"/>
            <a:ext cx="7599792" cy="495300"/>
          </a:xfrm>
        </p:spPr>
        <p:txBody>
          <a:bodyPr anchor="ctr">
            <a:normAutofit/>
          </a:bodyPr>
          <a:lstStyle>
            <a:lvl1pPr marL="0" indent="0">
              <a:buNone/>
              <a:defRPr kumimoji="1" lang="ko-KR" altLang="en-US" sz="1600" b="1" kern="1200" spc="-150" baseline="0" dirty="0" smtClean="0">
                <a:ln w="3175">
                  <a:solidFill>
                    <a:schemeClr val="tx1">
                      <a:alpha val="7000"/>
                    </a:schemeClr>
                  </a:solidFill>
                </a:ln>
                <a:solidFill>
                  <a:schemeClr val="tx1"/>
                </a:solidFill>
                <a:latin typeface="+mn-ea"/>
                <a:ea typeface="+mn-ea"/>
                <a:cs typeface="Malgun Gothic"/>
              </a:defRPr>
            </a:lvl1pPr>
          </a:lstStyle>
          <a:p>
            <a:pPr marL="0" lvl="0" indent="0" algn="l" defTabSz="457200" rtl="0" eaLnBrk="1" latinLnBrk="1" hangingPunct="1">
              <a:lnSpc>
                <a:spcPct val="100000"/>
              </a:lnSpc>
              <a:spcBef>
                <a:spcPts val="600"/>
              </a:spcBef>
              <a:buClr>
                <a:srgbClr val="12315D"/>
              </a:buClr>
              <a:buSzPct val="100000"/>
              <a:buFont typeface="Wingdings" charset="2"/>
              <a:buNone/>
            </a:pPr>
            <a:r>
              <a:rPr kumimoji="1" lang="ko-KR" altLang="en-US" dirty="0"/>
              <a:t>마스터 텍스트 스타일을 편집합니다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7541342" y="6288087"/>
            <a:ext cx="1524000" cy="50165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977270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04352" y="2290474"/>
            <a:ext cx="7772400" cy="782349"/>
          </a:xfrm>
        </p:spPr>
        <p:txBody>
          <a:bodyPr anchor="ctr">
            <a:normAutofit/>
          </a:bodyPr>
          <a:lstStyle>
            <a:lvl1pPr algn="l">
              <a:defRPr sz="3200" b="1" cap="all" spc="-150" baseline="0">
                <a:solidFill>
                  <a:srgbClr val="12315D"/>
                </a:solidFill>
              </a:defRPr>
            </a:lvl1pPr>
          </a:lstStyle>
          <a:p>
            <a:r>
              <a:rPr kumimoji="1" lang="ko-KR" altLang="en-US" dirty="0"/>
              <a:t>마스터 제목 스타일 편집</a:t>
            </a:r>
            <a:endParaRPr kumimoji="1" lang="ja-JP" alt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06056" y="3449350"/>
            <a:ext cx="7772400" cy="1500187"/>
          </a:xfrm>
        </p:spPr>
        <p:txBody>
          <a:bodyPr anchor="t"/>
          <a:lstStyle>
            <a:lvl1pPr marL="0" indent="0">
              <a:buFont typeface="+mj-lt"/>
              <a:buNone/>
              <a:defRPr sz="2000" spc="-150" baseline="0">
                <a:solidFill>
                  <a:srgbClr val="12315D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kumimoji="1" lang="ko-KR" altLang="en-US" dirty="0"/>
              <a:t>마스터 텍스트 스타일을 편집합니다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217058" y="731260"/>
            <a:ext cx="2997748" cy="782349"/>
          </a:xfrm>
        </p:spPr>
        <p:txBody>
          <a:bodyPr anchor="ctr">
            <a:noAutofit/>
          </a:bodyPr>
          <a:lstStyle>
            <a:lvl1pPr marL="0" indent="0" algn="ctr">
              <a:buNone/>
              <a:defRPr sz="6000" b="1">
                <a:ln w="3175">
                  <a:solidFill>
                    <a:srgbClr val="376092">
                      <a:alpha val="7000"/>
                    </a:srgbClr>
                  </a:solidFill>
                </a:ln>
                <a:solidFill>
                  <a:srgbClr val="376092"/>
                </a:solidFill>
              </a:defRPr>
            </a:lvl1pPr>
          </a:lstStyle>
          <a:p>
            <a:pPr lvl="0"/>
            <a:r>
              <a:rPr kumimoji="1" lang="en-US" altLang="ja-JP" dirty="0"/>
              <a:t>CH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7541342" y="6288087"/>
            <a:ext cx="1524000" cy="50165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840040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0" y="239007"/>
            <a:ext cx="7538721" cy="653014"/>
          </a:xfrm>
        </p:spPr>
        <p:txBody>
          <a:bodyPr/>
          <a:lstStyle>
            <a:lvl1pPr>
              <a:defRPr spc="-150"/>
            </a:lvl1pPr>
          </a:lstStyle>
          <a:p>
            <a:r>
              <a:rPr kumimoji="1" lang="en-US" altLang="ko-KR" dirty="0"/>
              <a:t>Click To Edit Master Title Style</a:t>
            </a:r>
            <a:endParaRPr kumimoji="1" lang="ja-JP" alt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pc="-150"/>
            </a:lvl1pPr>
          </a:lstStyle>
          <a:p>
            <a:endParaRPr lang="ja-JP" altLang="en-US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7538720" y="239007"/>
            <a:ext cx="1667902" cy="504581"/>
          </a:xfrm>
        </p:spPr>
        <p:txBody>
          <a:bodyPr vert="horz" lIns="91440" tIns="45720" rIns="91440" bIns="45720" rtlCol="0" anchor="ctr">
            <a:noAutofit/>
          </a:bodyPr>
          <a:lstStyle>
            <a:lvl1pPr>
              <a:defRPr lang="en-US" altLang="ja-JP" baseline="0" dirty="0" smtClean="0">
                <a:ln w="3175">
                  <a:solidFill>
                    <a:schemeClr val="bg1">
                      <a:alpha val="7000"/>
                    </a:schemeClr>
                  </a:solidFill>
                </a:ln>
                <a:solidFill>
                  <a:schemeClr val="bg1"/>
                </a:solidFill>
              </a:defRPr>
            </a:lvl1pPr>
          </a:lstStyle>
          <a:p>
            <a:pPr marL="0" lvl="0" indent="0" algn="ctr">
              <a:lnSpc>
                <a:spcPct val="140000"/>
              </a:lnSpc>
              <a:buNone/>
            </a:pPr>
            <a:r>
              <a:rPr kumimoji="1" lang="en-US" altLang="ja-JP" dirty="0"/>
              <a:t>CH.</a:t>
            </a:r>
            <a:r>
              <a:rPr kumimoji="1" lang="ko-KR" altLang="en-US" dirty="0"/>
              <a:t> </a:t>
            </a:r>
            <a:r>
              <a:rPr kumimoji="1" lang="en-US" altLang="ja-JP" dirty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48692194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png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그림 1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0" y="0"/>
            <a:ext cx="9144000" cy="3421294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-1" y="104098"/>
            <a:ext cx="7538721" cy="65301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ko-KR" altLang="en-US" dirty="0"/>
              <a:t>마스터 제목 스타일 편집</a:t>
            </a:r>
            <a:endParaRPr kumimoji="1" lang="ja-JP" alt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071217"/>
            <a:ext cx="8229600" cy="505494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ko-KR" altLang="en-US" dirty="0"/>
              <a:t>마스터 텍스트 스타일을 편집합니다</a:t>
            </a:r>
          </a:p>
          <a:p>
            <a:pPr lvl="1"/>
            <a:r>
              <a:rPr kumimoji="1" lang="ko-KR" altLang="en-US" dirty="0"/>
              <a:t>둘째 수준</a:t>
            </a:r>
          </a:p>
          <a:p>
            <a:pPr lvl="2"/>
            <a:r>
              <a:rPr kumimoji="1" lang="ko-KR" altLang="en-US" dirty="0"/>
              <a:t>셋째 수준</a:t>
            </a:r>
          </a:p>
          <a:p>
            <a:pPr lvl="3"/>
            <a:r>
              <a:rPr kumimoji="1" lang="ko-KR" altLang="en-US" dirty="0"/>
              <a:t>넷째 수준</a:t>
            </a:r>
          </a:p>
          <a:p>
            <a:pPr lvl="4"/>
            <a:r>
              <a:rPr kumimoji="1" lang="ko-KR" altLang="en-US" dirty="0"/>
              <a:t>다섯째 수준</a:t>
            </a:r>
            <a:endParaRPr kumimoji="1" lang="ja-JP" alt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943198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670576" y="6484786"/>
            <a:ext cx="145849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00" b="0" i="0">
                <a:ln w="3175">
                  <a:solidFill>
                    <a:schemeClr val="tx1">
                      <a:alpha val="4000"/>
                    </a:schemeClr>
                  </a:solidFill>
                </a:ln>
                <a:solidFill>
                  <a:schemeClr val="tx1"/>
                </a:solidFill>
                <a:latin typeface="+mn-ea"/>
                <a:ea typeface="+mn-ea"/>
                <a:cs typeface="Malgun Gothic"/>
              </a:defRPr>
            </a:lvl1pPr>
          </a:lstStyle>
          <a:p>
            <a:fld id="{27655F23-C921-6945-88A6-CC79264B7678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38" name="TextBox 37"/>
          <p:cNvSpPr txBox="1"/>
          <p:nvPr/>
        </p:nvSpPr>
        <p:spPr>
          <a:xfrm>
            <a:off x="11870" y="-166183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4806705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51" r:id="rId2"/>
    <p:sldLayoutId id="2147483654" r:id="rId3"/>
  </p:sldLayoutIdLst>
  <p:hf hdr="0" ftr="0" dt="0"/>
  <p:txStyles>
    <p:titleStyle>
      <a:lvl1pPr algn="l" defTabSz="457200" rtl="0" eaLnBrk="1" latinLnBrk="1" hangingPunct="1">
        <a:spcBef>
          <a:spcPct val="0"/>
        </a:spcBef>
        <a:buNone/>
        <a:defRPr kumimoji="1" sz="2800" b="1" kern="1200" spc="-150" baseline="0">
          <a:ln w="3175">
            <a:solidFill>
              <a:srgbClr val="12315D">
                <a:alpha val="14000"/>
              </a:srgbClr>
            </a:solidFill>
          </a:ln>
          <a:solidFill>
            <a:srgbClr val="12315D"/>
          </a:solidFill>
          <a:latin typeface="맑은 고딕" pitchFamily="50" charset="-127"/>
          <a:ea typeface="맑은 고딕" pitchFamily="50" charset="-127"/>
          <a:cs typeface="맑은 고딕" pitchFamily="50" charset="-127"/>
        </a:defRPr>
      </a:lvl1pPr>
    </p:titleStyle>
    <p:bodyStyle>
      <a:lvl1pPr marL="342900" indent="-342900" algn="l" defTabSz="457200" rtl="0" eaLnBrk="1" latinLnBrk="1" hangingPunct="1">
        <a:lnSpc>
          <a:spcPct val="100000"/>
        </a:lnSpc>
        <a:spcBef>
          <a:spcPts val="600"/>
        </a:spcBef>
        <a:buClr>
          <a:srgbClr val="12315D"/>
        </a:buClr>
        <a:buSzPct val="100000"/>
        <a:buFont typeface="Wingdings" charset="2"/>
        <a:buChar char=""/>
        <a:defRPr kumimoji="1" sz="1600" b="1" kern="1200" spc="-150" baseline="0">
          <a:ln w="3175">
            <a:solidFill>
              <a:schemeClr val="tx1">
                <a:alpha val="7000"/>
              </a:schemeClr>
            </a:solidFill>
          </a:ln>
          <a:solidFill>
            <a:schemeClr val="tx1"/>
          </a:solidFill>
          <a:latin typeface="+mn-ea"/>
          <a:ea typeface="+mn-ea"/>
          <a:cs typeface="Malgun Gothic"/>
        </a:defRPr>
      </a:lvl1pPr>
      <a:lvl2pPr marL="540000" indent="-285750" algn="l" defTabSz="457200" rtl="0" eaLnBrk="1" latinLnBrk="1" hangingPunct="1">
        <a:lnSpc>
          <a:spcPct val="100000"/>
        </a:lnSpc>
        <a:spcBef>
          <a:spcPts val="600"/>
        </a:spcBef>
        <a:buClr>
          <a:srgbClr val="3C3C3B"/>
        </a:buClr>
        <a:buFont typeface="Arial"/>
        <a:buChar char="❍"/>
        <a:defRPr kumimoji="1" sz="1400" kern="1200" spc="-150" baseline="0">
          <a:ln w="3175">
            <a:solidFill>
              <a:schemeClr val="tx1">
                <a:alpha val="8000"/>
              </a:schemeClr>
            </a:solidFill>
          </a:ln>
          <a:solidFill>
            <a:schemeClr val="tx1"/>
          </a:solidFill>
          <a:latin typeface="+mn-ea"/>
          <a:ea typeface="+mn-ea"/>
          <a:cs typeface="Malgun Gothic"/>
        </a:defRPr>
      </a:lvl2pPr>
      <a:lvl3pPr marL="748800" indent="-228600" algn="l" defTabSz="457200" rtl="0" eaLnBrk="1" latinLnBrk="1" hangingPunct="1">
        <a:lnSpc>
          <a:spcPct val="100000"/>
        </a:lnSpc>
        <a:spcBef>
          <a:spcPts val="600"/>
        </a:spcBef>
        <a:buClr>
          <a:srgbClr val="800000"/>
        </a:buClr>
        <a:buFont typeface="AppleGothic"/>
        <a:buChar char="▹"/>
        <a:defRPr kumimoji="1" sz="1200" kern="1200" spc="-150" baseline="0">
          <a:ln w="3175">
            <a:solidFill>
              <a:schemeClr val="tx1">
                <a:alpha val="5000"/>
              </a:schemeClr>
            </a:solidFill>
          </a:ln>
          <a:solidFill>
            <a:schemeClr val="tx1"/>
          </a:solidFill>
          <a:latin typeface="+mn-ea"/>
          <a:ea typeface="+mn-ea"/>
          <a:cs typeface="Malgun Gothic"/>
        </a:defRPr>
      </a:lvl3pPr>
      <a:lvl4pPr marL="990000" indent="-228600" algn="l" defTabSz="457200" rtl="0" eaLnBrk="1" latinLnBrk="1" hangingPunct="1">
        <a:lnSpc>
          <a:spcPct val="100000"/>
        </a:lnSpc>
        <a:spcBef>
          <a:spcPts val="600"/>
        </a:spcBef>
        <a:buFont typeface="Arial"/>
        <a:buChar char="▪"/>
        <a:defRPr kumimoji="1" sz="1200" kern="1200" spc="-150" baseline="0">
          <a:ln w="3175">
            <a:solidFill>
              <a:schemeClr val="tx1">
                <a:alpha val="9000"/>
              </a:schemeClr>
            </a:solidFill>
          </a:ln>
          <a:solidFill>
            <a:schemeClr val="tx1"/>
          </a:solidFill>
          <a:latin typeface="+mn-ea"/>
          <a:ea typeface="+mn-ea"/>
          <a:cs typeface="Malgun Gothic"/>
        </a:defRPr>
      </a:lvl4pPr>
      <a:lvl5pPr marL="1231200" indent="-228600" algn="l" defTabSz="457200" rtl="0" eaLnBrk="1" latinLnBrk="1" hangingPunct="1">
        <a:lnSpc>
          <a:spcPct val="100000"/>
        </a:lnSpc>
        <a:spcBef>
          <a:spcPts val="600"/>
        </a:spcBef>
        <a:buClr>
          <a:srgbClr val="800000"/>
        </a:buClr>
        <a:buFont typeface="Wingdings" charset="2"/>
        <a:buChar char="⁃"/>
        <a:defRPr kumimoji="1" sz="1200" kern="1200" spc="-150" baseline="0">
          <a:ln w="3175">
            <a:solidFill>
              <a:schemeClr val="tx1">
                <a:alpha val="8000"/>
              </a:schemeClr>
            </a:solidFill>
          </a:ln>
          <a:solidFill>
            <a:schemeClr val="tx1"/>
          </a:solidFill>
          <a:latin typeface="+mn-ea"/>
          <a:ea typeface="+mn-ea"/>
          <a:cs typeface="Malgun Gothic"/>
        </a:defRPr>
      </a:lvl5pPr>
      <a:lvl6pPr marL="2514600" indent="-228600" algn="l" defTabSz="457200" rtl="0" eaLnBrk="1" latinLnBrk="1" hangingPunct="1">
        <a:spcBef>
          <a:spcPct val="20000"/>
        </a:spcBef>
        <a:buFont typeface="Arial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1" hangingPunct="1">
        <a:spcBef>
          <a:spcPct val="20000"/>
        </a:spcBef>
        <a:buFont typeface="Arial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1" hangingPunct="1">
        <a:spcBef>
          <a:spcPct val="20000"/>
        </a:spcBef>
        <a:buFont typeface="Arial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1" hangingPunct="1">
        <a:spcBef>
          <a:spcPct val="20000"/>
        </a:spcBef>
        <a:buFont typeface="Arial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457200" rtl="0" eaLnBrk="1" latinLnBrk="1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1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1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1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1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1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1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1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1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6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6" Type="http://schemas.openxmlformats.org/officeDocument/2006/relationships/image" Target="../media/image8.jpeg"/><Relationship Id="rId5" Type="http://schemas.openxmlformats.org/officeDocument/2006/relationships/image" Target="../media/image7.jpeg"/><Relationship Id="rId4" Type="http://schemas.openxmlformats.org/officeDocument/2006/relationships/image" Target="../media/image6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gif"/><Relationship Id="rId3" Type="http://schemas.openxmlformats.org/officeDocument/2006/relationships/image" Target="../media/image6.emf"/><Relationship Id="rId7" Type="http://schemas.openxmlformats.org/officeDocument/2006/relationships/image" Target="../media/image14.gif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13.gif"/><Relationship Id="rId5" Type="http://schemas.openxmlformats.org/officeDocument/2006/relationships/image" Target="../media/image12.gif"/><Relationship Id="rId4" Type="http://schemas.openxmlformats.org/officeDocument/2006/relationships/image" Target="../media/image11.gif"/><Relationship Id="rId9" Type="http://schemas.openxmlformats.org/officeDocument/2006/relationships/image" Target="../media/image16.gi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chart" Target="../charts/chart3.xml"/><Relationship Id="rId5" Type="http://schemas.openxmlformats.org/officeDocument/2006/relationships/chart" Target="../charts/chart2.xml"/><Relationship Id="rId4" Type="http://schemas.openxmlformats.org/officeDocument/2006/relationships/chart" Target="../charts/char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chart" Target="../charts/chart6.xml"/><Relationship Id="rId5" Type="http://schemas.openxmlformats.org/officeDocument/2006/relationships/chart" Target="../charts/chart5.xml"/><Relationship Id="rId4" Type="http://schemas.openxmlformats.org/officeDocument/2006/relationships/chart" Target="../charts/char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직사각형 3">
            <a:extLst>
              <a:ext uri="{FF2B5EF4-FFF2-40B4-BE49-F238E27FC236}">
                <a16:creationId xmlns:a16="http://schemas.microsoft.com/office/drawing/2014/main" id="{82D9303E-9FC7-4334-A0FA-EF34742FF750}"/>
              </a:ext>
            </a:extLst>
          </p:cNvPr>
          <p:cNvSpPr/>
          <p:nvPr/>
        </p:nvSpPr>
        <p:spPr>
          <a:xfrm>
            <a:off x="6686553" y="5907186"/>
            <a:ext cx="2194302" cy="64633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5" name="직사각형 24"/>
          <p:cNvSpPr/>
          <p:nvPr/>
        </p:nvSpPr>
        <p:spPr>
          <a:xfrm>
            <a:off x="1383235" y="2233402"/>
            <a:ext cx="79200" cy="1331626"/>
          </a:xfrm>
          <a:prstGeom prst="rect">
            <a:avLst/>
          </a:prstGeom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+mn-ea"/>
            </a:endParaRPr>
          </a:p>
        </p:txBody>
      </p:sp>
      <p:sp>
        <p:nvSpPr>
          <p:cNvPr id="26" name="제목 1"/>
          <p:cNvSpPr txBox="1">
            <a:spLocks/>
          </p:cNvSpPr>
          <p:nvPr/>
        </p:nvSpPr>
        <p:spPr>
          <a:xfrm>
            <a:off x="1422618" y="1612669"/>
            <a:ext cx="5373037" cy="1952358"/>
          </a:xfrm>
          <a:prstGeom prst="rect">
            <a:avLst/>
          </a:prstGeom>
        </p:spPr>
        <p:txBody>
          <a:bodyPr>
            <a:noAutofit/>
          </a:bodyPr>
          <a:lstStyle/>
          <a:p>
            <a:pPr lvl="0" algn="ctr" latinLnBrk="1">
              <a:lnSpc>
                <a:spcPct val="120000"/>
              </a:lnSpc>
              <a:spcBef>
                <a:spcPct val="0"/>
              </a:spcBef>
              <a:defRPr/>
            </a:pPr>
            <a:endParaRPr lang="en-US" altLang="ko-KR" sz="3500" b="1" spc="-200" noProof="0" dirty="0">
              <a:ln w="3175">
                <a:solidFill>
                  <a:srgbClr val="376092">
                    <a:alpha val="11000"/>
                  </a:srgbClr>
                </a:solidFill>
              </a:ln>
              <a:solidFill>
                <a:srgbClr val="376092"/>
              </a:solidFill>
              <a:latin typeface="+mj-ea"/>
              <a:ea typeface="맑은 고딕" pitchFamily="50" charset="-127"/>
              <a:cs typeface="맑은 고딕" pitchFamily="50" charset="-127"/>
            </a:endParaRPr>
          </a:p>
          <a:p>
            <a:pPr lvl="0" algn="ctr" latinLnBrk="1">
              <a:lnSpc>
                <a:spcPct val="120000"/>
              </a:lnSpc>
              <a:spcBef>
                <a:spcPct val="0"/>
              </a:spcBef>
              <a:defRPr/>
            </a:pPr>
            <a:r>
              <a:rPr lang="ko-KR" altLang="en-US" sz="3500" b="1" spc="-200" noProof="0" dirty="0">
                <a:ln w="3175">
                  <a:solidFill>
                    <a:srgbClr val="376092">
                      <a:alpha val="11000"/>
                    </a:srgbClr>
                  </a:solidFill>
                </a:ln>
                <a:solidFill>
                  <a:srgbClr val="376092"/>
                </a:solidFill>
                <a:latin typeface="+mj-ea"/>
                <a:ea typeface="맑은 고딕" pitchFamily="50" charset="-127"/>
                <a:cs typeface="맑은 고딕" pitchFamily="50" charset="-127"/>
              </a:rPr>
              <a:t>빅데이터 분석 결과</a:t>
            </a:r>
            <a:endParaRPr lang="en-US" altLang="ko-KR" sz="3500" b="1" spc="-200" noProof="0" dirty="0">
              <a:ln w="3175">
                <a:solidFill>
                  <a:srgbClr val="376092">
                    <a:alpha val="11000"/>
                  </a:srgbClr>
                </a:solidFill>
              </a:ln>
              <a:solidFill>
                <a:srgbClr val="376092"/>
              </a:solidFill>
              <a:latin typeface="+mj-ea"/>
              <a:ea typeface="맑은 고딕" pitchFamily="50" charset="-127"/>
              <a:cs typeface="맑은 고딕" pitchFamily="50" charset="-127"/>
            </a:endParaRPr>
          </a:p>
          <a:p>
            <a:pPr lvl="0" algn="ctr" latinLnBrk="1">
              <a:lnSpc>
                <a:spcPct val="120000"/>
              </a:lnSpc>
              <a:spcBef>
                <a:spcPct val="0"/>
              </a:spcBef>
              <a:defRPr/>
            </a:pPr>
            <a:r>
              <a:rPr kumimoji="1" lang="ko-KR" altLang="en-US" sz="3500" b="1" i="0" u="none" strike="noStrike" kern="1200" cap="none" spc="-200" normalizeH="0" baseline="0" dirty="0">
                <a:ln w="3175">
                  <a:solidFill>
                    <a:srgbClr val="376092">
                      <a:alpha val="11000"/>
                    </a:srgbClr>
                  </a:solidFill>
                </a:ln>
                <a:solidFill>
                  <a:srgbClr val="376092"/>
                </a:solidFill>
                <a:effectLst/>
                <a:uLnTx/>
                <a:uFillTx/>
                <a:latin typeface="+mj-ea"/>
                <a:ea typeface="맑은 고딕" pitchFamily="50" charset="-127"/>
                <a:cs typeface="맑은 고딕" pitchFamily="50" charset="-127"/>
              </a:rPr>
              <a:t>발표 </a:t>
            </a:r>
            <a:r>
              <a:rPr lang="ko-KR" altLang="en-US" sz="3500" b="1" spc="-200" dirty="0">
                <a:ln w="3175">
                  <a:solidFill>
                    <a:srgbClr val="376092">
                      <a:alpha val="11000"/>
                    </a:srgbClr>
                  </a:solidFill>
                </a:ln>
                <a:solidFill>
                  <a:srgbClr val="376092"/>
                </a:solidFill>
                <a:latin typeface="+mj-ea"/>
                <a:ea typeface="맑은 고딕" pitchFamily="50" charset="-127"/>
                <a:cs typeface="맑은 고딕" pitchFamily="50" charset="-127"/>
              </a:rPr>
              <a:t>자료</a:t>
            </a:r>
            <a:endParaRPr kumimoji="1" lang="ko-KR" altLang="en-US" sz="3500" b="1" i="0" u="none" strike="noStrike" kern="1200" cap="none" spc="-300" normalizeH="0" baseline="0" noProof="0" dirty="0">
              <a:ln w="3175">
                <a:solidFill>
                  <a:srgbClr val="12315D">
                    <a:alpha val="14000"/>
                  </a:srgbClr>
                </a:solidFill>
              </a:ln>
              <a:solidFill>
                <a:srgbClr val="12315D"/>
              </a:solidFill>
              <a:effectLst/>
              <a:uLnTx/>
              <a:uFillTx/>
              <a:latin typeface="+mn-ea"/>
              <a:cs typeface="맑은 고딕" pitchFamily="50" charset="-127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5969809" y="4096443"/>
            <a:ext cx="2911046" cy="145472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ko-KR" altLang="en-US" b="1" spc="-200">
                <a:ln w="3175">
                  <a:solidFill>
                    <a:srgbClr val="376092">
                      <a:alpha val="11000"/>
                    </a:srgbClr>
                  </a:solidFill>
                </a:ln>
                <a:solidFill>
                  <a:srgbClr val="376092"/>
                </a:solidFill>
                <a:latin typeface="+mj-ea"/>
                <a:ea typeface="맑은 고딕"/>
                <a:cs typeface="맑은 고딕"/>
              </a:rPr>
              <a:t>과목 </a:t>
            </a:r>
            <a:r>
              <a:rPr lang="en-US" altLang="ko-KR" b="1" spc="-200">
                <a:ln w="3175">
                  <a:solidFill>
                    <a:srgbClr val="376092">
                      <a:alpha val="11000"/>
                    </a:srgbClr>
                  </a:solidFill>
                </a:ln>
                <a:solidFill>
                  <a:srgbClr val="376092"/>
                </a:solidFill>
                <a:latin typeface="+mj-ea"/>
                <a:ea typeface="맑은 고딕"/>
                <a:cs typeface="맑은 고딕"/>
              </a:rPr>
              <a:t>: </a:t>
            </a:r>
            <a:r>
              <a:rPr lang="ko-KR" altLang="en-US" b="1" spc="-200">
                <a:ln w="3175">
                  <a:solidFill>
                    <a:srgbClr val="376092">
                      <a:alpha val="11000"/>
                    </a:srgbClr>
                  </a:solidFill>
                </a:ln>
                <a:solidFill>
                  <a:srgbClr val="376092"/>
                </a:solidFill>
                <a:latin typeface="+mj-ea"/>
                <a:ea typeface="맑은 고딕"/>
                <a:cs typeface="맑은 고딕"/>
              </a:rPr>
              <a:t>빅데이터</a:t>
            </a:r>
          </a:p>
          <a:p>
            <a:pPr lvl="0">
              <a:defRPr/>
            </a:pPr>
            <a:r>
              <a:rPr lang="ko-KR" altLang="en-US" b="1" spc="-200">
                <a:ln w="3175">
                  <a:solidFill>
                    <a:srgbClr val="376092">
                      <a:alpha val="11000"/>
                    </a:srgbClr>
                  </a:solidFill>
                </a:ln>
                <a:solidFill>
                  <a:srgbClr val="376092"/>
                </a:solidFill>
                <a:latin typeface="+mj-ea"/>
                <a:ea typeface="맑은 고딕"/>
                <a:cs typeface="맑은 고딕"/>
              </a:rPr>
              <a:t>지도교수 </a:t>
            </a:r>
            <a:r>
              <a:rPr lang="en-US" altLang="ko-KR" b="1" spc="-200">
                <a:ln w="3175">
                  <a:solidFill>
                    <a:srgbClr val="376092">
                      <a:alpha val="11000"/>
                    </a:srgbClr>
                  </a:solidFill>
                </a:ln>
                <a:solidFill>
                  <a:srgbClr val="376092"/>
                </a:solidFill>
                <a:latin typeface="+mj-ea"/>
                <a:ea typeface="맑은 고딕"/>
                <a:cs typeface="맑은 고딕"/>
              </a:rPr>
              <a:t>: </a:t>
            </a:r>
            <a:r>
              <a:rPr lang="ko-KR" altLang="en-US" b="1" spc="-200">
                <a:ln w="3175">
                  <a:solidFill>
                    <a:srgbClr val="376092">
                      <a:alpha val="11000"/>
                    </a:srgbClr>
                  </a:solidFill>
                </a:ln>
                <a:solidFill>
                  <a:srgbClr val="376092"/>
                </a:solidFill>
                <a:latin typeface="+mj-ea"/>
                <a:ea typeface="맑은 고딕"/>
                <a:cs typeface="맑은 고딕"/>
              </a:rPr>
              <a:t>허 준</a:t>
            </a:r>
          </a:p>
          <a:p>
            <a:pPr lvl="0">
              <a:defRPr/>
            </a:pPr>
            <a:r>
              <a:rPr lang="ko-KR" altLang="en-US" b="1" spc="-200">
                <a:ln w="3175">
                  <a:solidFill>
                    <a:srgbClr val="376092">
                      <a:alpha val="11000"/>
                    </a:srgbClr>
                  </a:solidFill>
                </a:ln>
                <a:solidFill>
                  <a:srgbClr val="376092"/>
                </a:solidFill>
                <a:latin typeface="+mj-ea"/>
                <a:ea typeface="맑은 고딕"/>
                <a:cs typeface="맑은 고딕"/>
              </a:rPr>
              <a:t>반 </a:t>
            </a:r>
            <a:r>
              <a:rPr lang="en-US" altLang="ko-KR" b="1" spc="-200">
                <a:ln w="3175">
                  <a:solidFill>
                    <a:srgbClr val="376092">
                      <a:alpha val="11000"/>
                    </a:srgbClr>
                  </a:solidFill>
                </a:ln>
                <a:solidFill>
                  <a:srgbClr val="376092"/>
                </a:solidFill>
                <a:latin typeface="+mj-ea"/>
                <a:ea typeface="맑은 고딕"/>
                <a:cs typeface="맑은 고딕"/>
              </a:rPr>
              <a:t>:  A</a:t>
            </a:r>
          </a:p>
          <a:p>
            <a:pPr lvl="0">
              <a:defRPr/>
            </a:pPr>
            <a:r>
              <a:rPr lang="ko-KR" altLang="en-US" b="1" spc="-200">
                <a:ln w="3175">
                  <a:solidFill>
                    <a:srgbClr val="376092">
                      <a:alpha val="11000"/>
                    </a:srgbClr>
                  </a:solidFill>
                </a:ln>
                <a:solidFill>
                  <a:srgbClr val="376092"/>
                </a:solidFill>
                <a:latin typeface="+mj-ea"/>
                <a:ea typeface="맑은 고딕"/>
                <a:cs typeface="맑은 고딕"/>
              </a:rPr>
              <a:t>학번 </a:t>
            </a:r>
            <a:r>
              <a:rPr lang="en-US" altLang="ko-KR" b="1" spc="-200">
                <a:ln w="3175">
                  <a:solidFill>
                    <a:srgbClr val="376092">
                      <a:alpha val="11000"/>
                    </a:srgbClr>
                  </a:solidFill>
                </a:ln>
                <a:solidFill>
                  <a:srgbClr val="376092"/>
                </a:solidFill>
                <a:latin typeface="+mj-ea"/>
                <a:ea typeface="맑은 고딕"/>
                <a:cs typeface="맑은 고딕"/>
              </a:rPr>
              <a:t>:  201944011</a:t>
            </a:r>
          </a:p>
          <a:p>
            <a:pPr lvl="0">
              <a:defRPr/>
            </a:pPr>
            <a:r>
              <a:rPr lang="ko-KR" altLang="en-US" b="1" spc="-200">
                <a:ln w="3175">
                  <a:solidFill>
                    <a:srgbClr val="376092">
                      <a:alpha val="11000"/>
                    </a:srgbClr>
                  </a:solidFill>
                </a:ln>
                <a:solidFill>
                  <a:srgbClr val="376092"/>
                </a:solidFill>
                <a:latin typeface="+mj-ea"/>
                <a:ea typeface="맑은 고딕"/>
                <a:cs typeface="맑은 고딕"/>
              </a:rPr>
              <a:t>성명 </a:t>
            </a:r>
            <a:r>
              <a:rPr lang="en-US" altLang="ko-KR" b="1" spc="-200">
                <a:ln w="3175">
                  <a:solidFill>
                    <a:srgbClr val="376092">
                      <a:alpha val="11000"/>
                    </a:srgbClr>
                  </a:solidFill>
                </a:ln>
                <a:solidFill>
                  <a:srgbClr val="376092"/>
                </a:solidFill>
                <a:latin typeface="+mj-ea"/>
                <a:ea typeface="맑은 고딕"/>
                <a:cs typeface="맑은 고딕"/>
              </a:rPr>
              <a:t>: </a:t>
            </a:r>
            <a:r>
              <a:rPr lang="ko-KR" altLang="en-US" b="1" spc="-200">
                <a:ln w="3175">
                  <a:solidFill>
                    <a:srgbClr val="376092">
                      <a:alpha val="11000"/>
                    </a:srgbClr>
                  </a:solidFill>
                </a:ln>
                <a:solidFill>
                  <a:srgbClr val="376092"/>
                </a:solidFill>
                <a:latin typeface="+mj-ea"/>
                <a:ea typeface="맑은 고딕"/>
                <a:cs typeface="맑은 고딕"/>
              </a:rPr>
              <a:t>김수림</a:t>
            </a:r>
          </a:p>
        </p:txBody>
      </p:sp>
      <p:pic>
        <p:nvPicPr>
          <p:cNvPr id="19" name="그림 18">
            <a:extLst>
              <a:ext uri="{FF2B5EF4-FFF2-40B4-BE49-F238E27FC236}">
                <a16:creationId xmlns:a16="http://schemas.microsoft.com/office/drawing/2014/main" id="{99EBF308-9FB9-44CB-9F11-EEB4E03C827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86553" y="947442"/>
            <a:ext cx="2291192" cy="1629450"/>
          </a:xfrm>
          <a:prstGeom prst="rect">
            <a:avLst/>
          </a:prstGeom>
        </p:spPr>
      </p:pic>
      <p:pic>
        <p:nvPicPr>
          <p:cNvPr id="3" name="그림 2">
            <a:extLst>
              <a:ext uri="{FF2B5EF4-FFF2-40B4-BE49-F238E27FC236}">
                <a16:creationId xmlns:a16="http://schemas.microsoft.com/office/drawing/2014/main" id="{BC9A8AD3-A0A3-4074-A02A-ECDD7E1DDCC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60012" y="6054042"/>
            <a:ext cx="1869640" cy="342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55602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/>
    </mc:Choice>
    <mc:Fallback xmlns:dsp="http://schemas.microsoft.com/office/drawing/2008/diagram" xmlns:dgm="http://schemas.openxmlformats.org/drawingml/2006/diagram" xmlns:c="http://schemas.openxmlformats.org/drawingml/2006/chart"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그림 4">
            <a:extLst>
              <a:ext uri="{FF2B5EF4-FFF2-40B4-BE49-F238E27FC236}">
                <a16:creationId xmlns:a16="http://schemas.microsoft.com/office/drawing/2014/main" id="{7CE4B212-BCA0-4CEA-BBE0-8629E4EB5C0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8083" y="989351"/>
            <a:ext cx="72473" cy="28938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7476655F-549A-40B8-BEE0-9AA5CDD923B2}"/>
              </a:ext>
            </a:extLst>
          </p:cNvPr>
          <p:cNvSpPr txBox="1"/>
          <p:nvPr/>
        </p:nvSpPr>
        <p:spPr>
          <a:xfrm>
            <a:off x="641805" y="938892"/>
            <a:ext cx="1930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b="1" dirty="0">
                <a:latin typeface="Adobe 고딕 Std B" panose="020B0800000000000000" pitchFamily="34" charset="-127"/>
                <a:ea typeface="Adobe 고딕 Std B" panose="020B0800000000000000" pitchFamily="34" charset="-127"/>
              </a:rPr>
              <a:t>시사점 </a:t>
            </a:r>
            <a:r>
              <a:rPr lang="en-US" altLang="ko-KR" b="1" dirty="0">
                <a:latin typeface="Adobe 고딕 Std B" panose="020B0800000000000000" pitchFamily="34" charset="-127"/>
                <a:ea typeface="Adobe 고딕 Std B" panose="020B0800000000000000" pitchFamily="34" charset="-127"/>
              </a:rPr>
              <a:t>&amp; </a:t>
            </a:r>
            <a:r>
              <a:rPr lang="ko-KR" altLang="en-US" b="1" dirty="0">
                <a:latin typeface="Adobe 고딕 Std B" panose="020B0800000000000000" pitchFamily="34" charset="-127"/>
                <a:ea typeface="Adobe 고딕 Std B" panose="020B0800000000000000" pitchFamily="34" charset="-127"/>
              </a:rPr>
              <a:t>한계점</a:t>
            </a:r>
            <a:endParaRPr lang="en-US" altLang="ko-KR" b="1" dirty="0">
              <a:latin typeface="Adobe 고딕 Std B" panose="020B0800000000000000" pitchFamily="34" charset="-127"/>
              <a:ea typeface="Adobe 고딕 Std B" panose="020B0800000000000000" pitchFamily="34" charset="-127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83078FE-1E08-492F-89D5-9263B22AA752}"/>
              </a:ext>
            </a:extLst>
          </p:cNvPr>
          <p:cNvSpPr txBox="1"/>
          <p:nvPr/>
        </p:nvSpPr>
        <p:spPr>
          <a:xfrm>
            <a:off x="820057" y="1540453"/>
            <a:ext cx="7503886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dirty="0"/>
              <a:t>시사점</a:t>
            </a:r>
            <a:endParaRPr lang="en-US" altLang="ko-KR" dirty="0"/>
          </a:p>
          <a:p>
            <a:pPr marL="285750" indent="-285750">
              <a:buFontTx/>
              <a:buChar char="-"/>
            </a:pPr>
            <a:r>
              <a:rPr lang="ko-KR" altLang="en-US" sz="1800" kern="100" spc="0" dirty="0"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외식 소비 패턴 데이터를 분석한 결과 돼지고기 구이</a:t>
            </a:r>
            <a:r>
              <a:rPr lang="en-US" altLang="ko-KR" sz="1800" kern="100" spc="0" dirty="0"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800" kern="100" spc="0" dirty="0"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샐러드가 음식 블로그에서 동일한 횟수로 가장 많이 언급된 메뉴이다</a:t>
            </a:r>
            <a:r>
              <a:rPr lang="en-US" altLang="ko-KR" sz="1800" kern="100" spc="0" dirty="0"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</a:p>
          <a:p>
            <a:pPr marL="285750" indent="-285750">
              <a:buFontTx/>
              <a:buChar char="-"/>
            </a:pPr>
            <a:endParaRPr lang="en-US" altLang="ko-KR" sz="1800" kern="100" spc="0" dirty="0">
              <a:solidFill>
                <a:srgbClr val="000000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285750" indent="-285750">
              <a:buFontTx/>
              <a:buChar char="-"/>
            </a:pPr>
            <a:r>
              <a:rPr lang="ko-KR" altLang="en-US" kern="1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외식 소비 패턴 데이터를 통해서 칼국수도 많이 언급된 메뉴로 분석 되어졌는데</a:t>
            </a:r>
            <a:r>
              <a:rPr lang="en-US" altLang="ko-KR" kern="1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kern="1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매출</a:t>
            </a:r>
            <a:r>
              <a:rPr lang="en-US" altLang="ko-KR" kern="1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  <a:r>
              <a:rPr lang="ko-KR" altLang="en-US" kern="1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매입 데이터를 통해서 칼국수 식재료의 </a:t>
            </a:r>
            <a:r>
              <a:rPr lang="ko-KR" altLang="en-US" kern="100" dirty="0" err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매출량이</a:t>
            </a:r>
            <a:r>
              <a:rPr lang="ko-KR" altLang="en-US" kern="1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증가</a:t>
            </a:r>
            <a:r>
              <a:rPr lang="en-US" altLang="ko-KR" kern="1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kern="1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감소하면 </a:t>
            </a:r>
            <a:r>
              <a:rPr lang="ko-KR" altLang="en-US" kern="100" dirty="0" err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매입량도</a:t>
            </a:r>
            <a:r>
              <a:rPr lang="ko-KR" altLang="en-US" kern="1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증가</a:t>
            </a:r>
            <a:r>
              <a:rPr lang="en-US" altLang="ko-KR" kern="1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kern="1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감소하는 상관관계가 있다</a:t>
            </a:r>
            <a:r>
              <a:rPr lang="en-US" altLang="ko-KR" kern="1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  <a:endParaRPr lang="ko-KR" altLang="en-US" kern="100" dirty="0">
              <a:solidFill>
                <a:srgbClr val="000000"/>
              </a:solidFill>
              <a:latin typeface="맑은 고딕" panose="020B0503020000020004" pitchFamily="50" charset="-127"/>
            </a:endParaRPr>
          </a:p>
          <a:p>
            <a:endParaRPr lang="en-US" altLang="ko-K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dirty="0"/>
              <a:t>한계점</a:t>
            </a:r>
            <a:endParaRPr lang="en-US" altLang="ko-KR" kern="100" dirty="0">
              <a:solidFill>
                <a:srgbClr val="000000"/>
              </a:solidFill>
              <a:latin typeface="맑은 고딕" panose="020B0503020000020004" pitchFamily="50" charset="-127"/>
            </a:endParaRPr>
          </a:p>
          <a:p>
            <a:pPr marL="285750" indent="-285750">
              <a:buFontTx/>
              <a:buChar char="-"/>
            </a:pPr>
            <a:r>
              <a:rPr lang="ko-KR" altLang="en-US" sz="1800" kern="100" spc="0" dirty="0" err="1"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장보고식자재마트가</a:t>
            </a:r>
            <a:r>
              <a:rPr lang="ko-KR" altLang="en-US" sz="1800" kern="100" spc="0" dirty="0"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 경북지역에만 한정적으로 위치하기 때문에</a:t>
            </a:r>
            <a:r>
              <a:rPr lang="en-US" altLang="ko-KR" sz="1800" kern="100" spc="0" dirty="0"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800" kern="100" spc="0" dirty="0"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전국 </a:t>
            </a:r>
            <a:r>
              <a:rPr lang="ko-KR" altLang="en-US" sz="1800" kern="100" spc="0" dirty="0" err="1"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식자재마트의</a:t>
            </a:r>
            <a:r>
              <a:rPr lang="ko-KR" altLang="en-US" sz="1800" kern="100" spc="0" dirty="0"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 식재료 </a:t>
            </a:r>
            <a:r>
              <a:rPr lang="ko-KR" altLang="en-US" sz="1800" kern="100" spc="0" dirty="0" err="1"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매출량</a:t>
            </a:r>
            <a:r>
              <a:rPr lang="ko-KR" altLang="en-US" sz="1800" kern="100" spc="0" dirty="0"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800" kern="100" spc="0" dirty="0" err="1"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매입량을</a:t>
            </a:r>
            <a:r>
              <a:rPr lang="ko-KR" altLang="en-US" sz="1800" kern="100" spc="0" dirty="0"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 토대로 결과를 도출 </a:t>
            </a:r>
            <a:r>
              <a:rPr lang="ko-KR" altLang="en-US" sz="1800" kern="100" spc="0" dirty="0" err="1"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하는데에</a:t>
            </a:r>
            <a:r>
              <a:rPr lang="ko-KR" altLang="en-US" sz="1800" kern="100" spc="0" dirty="0"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 어려움이 있었다</a:t>
            </a:r>
            <a:r>
              <a:rPr lang="en-US" altLang="ko-KR" sz="1800" kern="100" spc="0" dirty="0"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</a:p>
          <a:p>
            <a:pPr marL="285750" indent="-285750">
              <a:buFontTx/>
              <a:buChar char="-"/>
            </a:pPr>
            <a:r>
              <a:rPr lang="ko-KR" altLang="en-US" sz="1800" kern="100" spc="0" dirty="0"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제공받은 </a:t>
            </a:r>
            <a:r>
              <a:rPr lang="en-US" altLang="ko-KR" sz="1800" kern="100" spc="0" dirty="0"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csv</a:t>
            </a:r>
            <a:r>
              <a:rPr lang="ko-KR" altLang="en-US" sz="1800" kern="100" spc="0" dirty="0"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파일에 매입</a:t>
            </a:r>
            <a:r>
              <a:rPr lang="en-US" altLang="ko-KR" sz="1800" kern="100" spc="0" dirty="0"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800" kern="100" spc="0" dirty="0"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매출날짜가 연속적으로 제공되지 않아 </a:t>
            </a:r>
            <a:r>
              <a:rPr lang="en-US" altLang="ko-KR" sz="1800" kern="100" spc="0" dirty="0"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1</a:t>
            </a:r>
            <a:r>
              <a:rPr lang="ko-KR" altLang="en-US" sz="1800" kern="100" spc="0" dirty="0"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년 간 정확한 결과값을 도출하는데 어려움이 있었다</a:t>
            </a:r>
            <a:r>
              <a:rPr lang="en-US" altLang="ko-KR" sz="1800" kern="100" spc="0" dirty="0"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  <a:endParaRPr lang="ko-KR" altLang="en-US" sz="1800" kern="0" spc="0" dirty="0">
              <a:solidFill>
                <a:srgbClr val="000000"/>
              </a:solidFill>
              <a:effectLst/>
              <a:latin typeface="함초롬바탕" panose="0203060400010101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96889956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슬라이드 번호 개체 틀 8"/>
          <p:cNvSpPr txBox="1">
            <a:spLocks/>
          </p:cNvSpPr>
          <p:nvPr/>
        </p:nvSpPr>
        <p:spPr>
          <a:xfrm>
            <a:off x="7686675" y="6438900"/>
            <a:ext cx="14573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r" defTabSz="457200" rtl="0" eaLnBrk="1" latinLnBrk="0" hangingPunct="1">
              <a:defRPr kumimoji="1" sz="1400" b="0" i="0" kern="1200">
                <a:ln w="3175">
                  <a:solidFill>
                    <a:schemeClr val="tx1">
                      <a:alpha val="4000"/>
                    </a:schemeClr>
                  </a:solidFill>
                </a:ln>
                <a:solidFill>
                  <a:schemeClr val="tx1"/>
                </a:solidFill>
                <a:latin typeface="+mn-ea"/>
                <a:ea typeface="+mn-ea"/>
                <a:cs typeface="Malgun Gothic"/>
              </a:defRPr>
            </a:lvl1pPr>
            <a:lvl2pPr marL="457200" algn="l" defTabSz="4572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altLang="ja-JP" dirty="0">
                <a:ln w="3175">
                  <a:solidFill>
                    <a:prstClr val="black">
                      <a:alpha val="4000"/>
                    </a:prstClr>
                  </a:solidFill>
                </a:ln>
                <a:solidFill>
                  <a:prstClr val="black"/>
                </a:solidFill>
              </a:rPr>
              <a:t>13</a:t>
            </a:r>
            <a:endParaRPr lang="ja-JP" altLang="en-US" dirty="0">
              <a:ln w="3175">
                <a:solidFill>
                  <a:prstClr val="black">
                    <a:alpha val="4000"/>
                  </a:prstClr>
                </a:solidFill>
              </a:ln>
              <a:solidFill>
                <a:prstClr val="black"/>
              </a:solidFill>
            </a:endParaRPr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2610BF13-E4C0-4A81-B0FE-692B818E501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8083" y="989351"/>
            <a:ext cx="72473" cy="28938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CD62EFF-77DE-4335-AFCC-D8C3BDC20C62}"/>
              </a:ext>
            </a:extLst>
          </p:cNvPr>
          <p:cNvSpPr txBox="1"/>
          <p:nvPr/>
        </p:nvSpPr>
        <p:spPr>
          <a:xfrm>
            <a:off x="641805" y="938892"/>
            <a:ext cx="72327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b="1" dirty="0">
                <a:latin typeface="Adobe 고딕 Std B" panose="020B0800000000000000" pitchFamily="34" charset="-127"/>
                <a:ea typeface="Adobe 고딕 Std B" panose="020B0800000000000000" pitchFamily="34" charset="-127"/>
              </a:rPr>
              <a:t>Q&amp;A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C9E98BE-BBE3-4488-B156-7A3BFAD8C0A6}"/>
              </a:ext>
            </a:extLst>
          </p:cNvPr>
          <p:cNvSpPr txBox="1"/>
          <p:nvPr/>
        </p:nvSpPr>
        <p:spPr>
          <a:xfrm>
            <a:off x="1612696" y="1843950"/>
            <a:ext cx="5918608" cy="3170099"/>
          </a:xfrm>
          <a:prstGeom prst="rect">
            <a:avLst/>
          </a:prstGeom>
          <a:noFill/>
        </p:spPr>
        <p:txBody>
          <a:bodyPr wrap="none" rtlCol="0">
            <a:spAutoFit/>
            <a:scene3d>
              <a:camera prst="perspectiveAbove" fov="6000000">
                <a:rot lat="20999999" lon="0" rev="0"/>
              </a:camera>
              <a:lightRig rig="balanced" dir="t"/>
            </a:scene3d>
            <a:sp3d extrusionH="635000" prstMaterial="dkEdge">
              <a:bevelT w="38100" h="12700"/>
            </a:sp3d>
          </a:bodyPr>
          <a:lstStyle/>
          <a:p>
            <a:pPr latinLnBrk="0">
              <a:defRPr/>
            </a:pPr>
            <a:r>
              <a:rPr lang="en-US" altLang="ko-KR" sz="20000" b="1" kern="0" dirty="0">
                <a:gradFill>
                  <a:gsLst>
                    <a:gs pos="0">
                      <a:sysClr val="window" lastClr="FFFFFF"/>
                    </a:gs>
                    <a:gs pos="50000">
                      <a:sysClr val="window" lastClr="FFFFFF">
                        <a:lumMod val="75000"/>
                      </a:sysClr>
                    </a:gs>
                    <a:gs pos="100000">
                      <a:sysClr val="window" lastClr="FFFFFF"/>
                    </a:gs>
                  </a:gsLst>
                  <a:lin ang="2700000" scaled="0"/>
                </a:gradFill>
                <a:effectLst>
                  <a:outerShdw blurRad="127000" dist="38100" dir="5400000" algn="t" rotWithShape="0">
                    <a:prstClr val="black">
                      <a:alpha val="8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Tahoma" pitchFamily="34" charset="0"/>
                <a:cs typeface="Tahoma" pitchFamily="34" charset="0"/>
              </a:rPr>
              <a:t>Q&amp;A</a:t>
            </a:r>
            <a:endParaRPr lang="ko-KR" altLang="en-US" sz="20000" b="1" kern="0" dirty="0">
              <a:gradFill>
                <a:gsLst>
                  <a:gs pos="0">
                    <a:sysClr val="window" lastClr="FFFFFF"/>
                  </a:gs>
                  <a:gs pos="50000">
                    <a:sysClr val="window" lastClr="FFFFFF">
                      <a:lumMod val="75000"/>
                    </a:sysClr>
                  </a:gs>
                  <a:gs pos="100000">
                    <a:sysClr val="window" lastClr="FFFFFF"/>
                  </a:gs>
                </a:gsLst>
                <a:lin ang="2700000" scaled="0"/>
              </a:gradFill>
              <a:effectLst>
                <a:outerShdw blurRad="127000" dist="38100" dir="5400000" algn="t" rotWithShape="0">
                  <a:prstClr val="black">
                    <a:alpha val="80000"/>
                  </a:prstClr>
                </a:outerShdw>
                <a:reflection blurRad="6350" stA="55000" endA="300" endPos="45500" dir="5400000" sy="-100000" algn="bl" rotWithShape="0"/>
              </a:effectLst>
              <a:latin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738208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슬라이드 번호 개체 틀 8"/>
          <p:cNvSpPr txBox="1">
            <a:spLocks/>
          </p:cNvSpPr>
          <p:nvPr/>
        </p:nvSpPr>
        <p:spPr>
          <a:xfrm>
            <a:off x="7686675" y="6438900"/>
            <a:ext cx="14573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r" defTabSz="457200" rtl="0" eaLnBrk="1" latinLnBrk="0" hangingPunct="1">
              <a:defRPr kumimoji="1" sz="1400" b="0" i="0" kern="1200">
                <a:ln w="3175">
                  <a:solidFill>
                    <a:schemeClr val="tx1">
                      <a:alpha val="4000"/>
                    </a:schemeClr>
                  </a:solidFill>
                </a:ln>
                <a:solidFill>
                  <a:schemeClr val="tx1"/>
                </a:solidFill>
                <a:latin typeface="+mn-ea"/>
                <a:ea typeface="+mn-ea"/>
                <a:cs typeface="Malgun Gothic"/>
              </a:defRPr>
            </a:lvl1pPr>
            <a:lvl2pPr marL="457200" algn="l" defTabSz="4572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altLang="ja-JP" dirty="0">
                <a:ln w="3175">
                  <a:solidFill>
                    <a:prstClr val="black">
                      <a:alpha val="4000"/>
                    </a:prstClr>
                  </a:solidFill>
                </a:ln>
                <a:solidFill>
                  <a:prstClr val="black"/>
                </a:solidFill>
              </a:rPr>
              <a:t>13</a:t>
            </a:r>
            <a:endParaRPr lang="ja-JP" altLang="en-US" dirty="0">
              <a:ln w="3175">
                <a:solidFill>
                  <a:prstClr val="black">
                    <a:alpha val="4000"/>
                  </a:prstClr>
                </a:solidFill>
              </a:ln>
              <a:solidFill>
                <a:prstClr val="black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606AA85-DEC9-4423-9E67-515CBE298BBF}"/>
              </a:ext>
            </a:extLst>
          </p:cNvPr>
          <p:cNvSpPr txBox="1"/>
          <p:nvPr/>
        </p:nvSpPr>
        <p:spPr>
          <a:xfrm>
            <a:off x="461740" y="2459504"/>
            <a:ext cx="8220520" cy="1938992"/>
          </a:xfrm>
          <a:prstGeom prst="rect">
            <a:avLst/>
          </a:prstGeom>
          <a:noFill/>
        </p:spPr>
        <p:txBody>
          <a:bodyPr wrap="none" rtlCol="0">
            <a:spAutoFit/>
            <a:scene3d>
              <a:camera prst="perspectiveAbove" fov="3000000">
                <a:rot lat="20999997" lon="0" rev="0"/>
              </a:camera>
              <a:lightRig rig="balanced" dir="t"/>
            </a:scene3d>
            <a:sp3d extrusionH="635000" prstMaterial="dkEdge">
              <a:bevelT w="38100" h="12700"/>
            </a:sp3d>
          </a:bodyPr>
          <a:lstStyle/>
          <a:p>
            <a:pPr latinLnBrk="0">
              <a:defRPr/>
            </a:pPr>
            <a:r>
              <a:rPr lang="en-US" altLang="ko-KR" sz="12000" b="1" kern="0" dirty="0">
                <a:gradFill>
                  <a:gsLst>
                    <a:gs pos="0">
                      <a:sysClr val="window" lastClr="FFFFFF"/>
                    </a:gs>
                    <a:gs pos="50000">
                      <a:sysClr val="window" lastClr="FFFFFF">
                        <a:lumMod val="75000"/>
                      </a:sysClr>
                    </a:gs>
                    <a:gs pos="100000">
                      <a:srgbClr val="4F81BD">
                        <a:tint val="23500"/>
                        <a:satMod val="160000"/>
                      </a:srgbClr>
                    </a:gs>
                  </a:gsLst>
                  <a:lin ang="2700000" scaled="0"/>
                </a:gradFill>
                <a:effectLst>
                  <a:outerShdw blurRad="127000" dist="38100" dir="5400000" algn="t" rotWithShape="0">
                    <a:prstClr val="black">
                      <a:alpha val="8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Tahoma" pitchFamily="34" charset="0"/>
                <a:cs typeface="Tahoma" pitchFamily="34" charset="0"/>
              </a:rPr>
              <a:t>Thank you</a:t>
            </a:r>
            <a:endParaRPr lang="ko-KR" altLang="en-US" sz="12000" b="1" kern="0" dirty="0">
              <a:gradFill>
                <a:gsLst>
                  <a:gs pos="0">
                    <a:sysClr val="window" lastClr="FFFFFF"/>
                  </a:gs>
                  <a:gs pos="50000">
                    <a:sysClr val="window" lastClr="FFFFFF">
                      <a:lumMod val="75000"/>
                    </a:sysClr>
                  </a:gs>
                  <a:gs pos="100000">
                    <a:srgbClr val="4F81BD">
                      <a:tint val="23500"/>
                      <a:satMod val="160000"/>
                    </a:srgbClr>
                  </a:gs>
                </a:gsLst>
                <a:lin ang="2700000" scaled="0"/>
              </a:gradFill>
              <a:effectLst>
                <a:outerShdw blurRad="127000" dist="38100" dir="5400000" algn="t" rotWithShape="0">
                  <a:prstClr val="black">
                    <a:alpha val="80000"/>
                  </a:prstClr>
                </a:outerShdw>
                <a:reflection blurRad="6350" stA="55000" endA="300" endPos="45500" dir="5400000" sy="-100000" algn="bl" rotWithShape="0"/>
              </a:effectLst>
              <a:latin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4832077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A98B4033-93CB-4FE3-94E6-2611C546FB0A}"/>
              </a:ext>
            </a:extLst>
          </p:cNvPr>
          <p:cNvSpPr txBox="1"/>
          <p:nvPr/>
        </p:nvSpPr>
        <p:spPr>
          <a:xfrm>
            <a:off x="641805" y="938892"/>
            <a:ext cx="6463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b="1" dirty="0">
                <a:latin typeface="Adobe 고딕 Std B" panose="020B0800000000000000" pitchFamily="34" charset="-127"/>
                <a:ea typeface="Adobe 고딕 Std B" panose="020B0800000000000000" pitchFamily="34" charset="-127"/>
              </a:rPr>
              <a:t>목차</a:t>
            </a:r>
            <a:endParaRPr lang="en-US" altLang="ko-KR" b="1" dirty="0">
              <a:latin typeface="Adobe 고딕 Std B" panose="020B0800000000000000" pitchFamily="34" charset="-127"/>
              <a:ea typeface="Adobe 고딕 Std B" panose="020B0800000000000000" pitchFamily="34" charset="-127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65FA2DF-7140-4DAA-AC43-9084064F6044}"/>
              </a:ext>
            </a:extLst>
          </p:cNvPr>
          <p:cNvSpPr txBox="1"/>
          <p:nvPr/>
        </p:nvSpPr>
        <p:spPr>
          <a:xfrm>
            <a:off x="2787135" y="3739109"/>
            <a:ext cx="117852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400" b="1" dirty="0">
                <a:latin typeface="Adobe 고딕 Std B" panose="020B0800000000000000" pitchFamily="34" charset="-127"/>
                <a:ea typeface="Adobe 고딕 Std B" panose="020B0800000000000000" pitchFamily="34" charset="-127"/>
              </a:rPr>
              <a:t>1. </a:t>
            </a:r>
            <a:r>
              <a:rPr lang="ko-KR" altLang="en-US" sz="1400" b="1" dirty="0">
                <a:latin typeface="Adobe 고딕 Std B" panose="020B0800000000000000" pitchFamily="34" charset="-127"/>
                <a:ea typeface="Adobe 고딕 Std B" panose="020B0800000000000000" pitchFamily="34" charset="-127"/>
              </a:rPr>
              <a:t>분석 개요</a:t>
            </a:r>
            <a:endParaRPr lang="en-US" altLang="ko-KR" sz="1400" b="1" dirty="0">
              <a:latin typeface="Adobe 고딕 Std B" panose="020B0800000000000000" pitchFamily="34" charset="-127"/>
              <a:ea typeface="Adobe 고딕 Std B" panose="020B0800000000000000" pitchFamily="34" charset="-127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A132A33-7823-419C-8BC2-1F6799636DFC}"/>
              </a:ext>
            </a:extLst>
          </p:cNvPr>
          <p:cNvSpPr txBox="1"/>
          <p:nvPr/>
        </p:nvSpPr>
        <p:spPr>
          <a:xfrm>
            <a:off x="2787135" y="4285667"/>
            <a:ext cx="184217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400" b="1" dirty="0">
                <a:latin typeface="Adobe 고딕 Std B" panose="020B0800000000000000" pitchFamily="34" charset="-127"/>
                <a:ea typeface="Adobe 고딕 Std B" panose="020B0800000000000000" pitchFamily="34" charset="-127"/>
              </a:rPr>
              <a:t>2. </a:t>
            </a:r>
            <a:r>
              <a:rPr lang="ko-KR" altLang="en-US" sz="1400" b="1" dirty="0">
                <a:latin typeface="Adobe 고딕 Std B" panose="020B0800000000000000" pitchFamily="34" charset="-127"/>
                <a:ea typeface="Adobe 고딕 Std B" panose="020B0800000000000000" pitchFamily="34" charset="-127"/>
              </a:rPr>
              <a:t>분석 절차 및 방법</a:t>
            </a:r>
            <a:endParaRPr lang="en-US" altLang="ko-KR" sz="1400" b="1" dirty="0">
              <a:latin typeface="Adobe 고딕 Std B" panose="020B0800000000000000" pitchFamily="34" charset="-127"/>
              <a:ea typeface="Adobe 고딕 Std B" panose="020B0800000000000000" pitchFamily="34" charset="-127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167668E-6D1E-40F1-AE45-3F72FA1531D4}"/>
              </a:ext>
            </a:extLst>
          </p:cNvPr>
          <p:cNvSpPr txBox="1"/>
          <p:nvPr/>
        </p:nvSpPr>
        <p:spPr>
          <a:xfrm>
            <a:off x="2787135" y="4832225"/>
            <a:ext cx="117852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400" b="1" dirty="0">
                <a:latin typeface="Adobe 고딕 Std B" panose="020B0800000000000000" pitchFamily="34" charset="-127"/>
                <a:ea typeface="Adobe 고딕 Std B" panose="020B0800000000000000" pitchFamily="34" charset="-127"/>
              </a:rPr>
              <a:t>3. </a:t>
            </a:r>
            <a:r>
              <a:rPr lang="ko-KR" altLang="en-US" sz="1400" b="1" dirty="0">
                <a:latin typeface="Adobe 고딕 Std B" panose="020B0800000000000000" pitchFamily="34" charset="-127"/>
                <a:ea typeface="Adobe 고딕 Std B" panose="020B0800000000000000" pitchFamily="34" charset="-127"/>
              </a:rPr>
              <a:t>분석 결과</a:t>
            </a:r>
            <a:endParaRPr lang="en-US" altLang="ko-KR" sz="1400" b="1" dirty="0">
              <a:latin typeface="Adobe 고딕 Std B" panose="020B0800000000000000" pitchFamily="34" charset="-127"/>
              <a:ea typeface="Adobe 고딕 Std B" panose="020B0800000000000000" pitchFamily="34" charset="-127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661D7E8-9558-4C26-80B7-591DDEE7EDA4}"/>
              </a:ext>
            </a:extLst>
          </p:cNvPr>
          <p:cNvSpPr txBox="1"/>
          <p:nvPr/>
        </p:nvSpPr>
        <p:spPr>
          <a:xfrm>
            <a:off x="2787135" y="5378783"/>
            <a:ext cx="203773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400" b="1" dirty="0">
                <a:latin typeface="Adobe 고딕 Std B" panose="020B0800000000000000" pitchFamily="34" charset="-127"/>
                <a:ea typeface="Adobe 고딕 Std B" panose="020B0800000000000000" pitchFamily="34" charset="-127"/>
              </a:rPr>
              <a:t>4. </a:t>
            </a:r>
            <a:r>
              <a:rPr lang="ko-KR" altLang="en-US" sz="1400" b="1" dirty="0">
                <a:latin typeface="Adobe 고딕 Std B" panose="020B0800000000000000" pitchFamily="34" charset="-127"/>
                <a:ea typeface="Adobe 고딕 Std B" panose="020B0800000000000000" pitchFamily="34" charset="-127"/>
              </a:rPr>
              <a:t>시사</a:t>
            </a:r>
            <a:r>
              <a:rPr lang="en-US" altLang="ko-KR" sz="1400" b="1" dirty="0">
                <a:latin typeface="Adobe 고딕 Std B" panose="020B0800000000000000" pitchFamily="34" charset="-127"/>
                <a:ea typeface="Adobe 고딕 Std B" panose="020B0800000000000000" pitchFamily="34" charset="-127"/>
              </a:rPr>
              <a:t>/</a:t>
            </a:r>
            <a:r>
              <a:rPr lang="ko-KR" altLang="en-US" sz="1400" b="1" dirty="0">
                <a:latin typeface="Adobe 고딕 Std B" panose="020B0800000000000000" pitchFamily="34" charset="-127"/>
                <a:ea typeface="Adobe 고딕 Std B" panose="020B0800000000000000" pitchFamily="34" charset="-127"/>
              </a:rPr>
              <a:t>한계점 및 소감</a:t>
            </a:r>
            <a:endParaRPr lang="en-US" altLang="ko-KR" sz="1400" b="1" dirty="0">
              <a:latin typeface="Adobe 고딕 Std B" panose="020B0800000000000000" pitchFamily="34" charset="-127"/>
              <a:ea typeface="Adobe 고딕 Std B" panose="020B0800000000000000" pitchFamily="34" charset="-127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485C14F-7F64-4B4C-93D4-59EDE725542E}"/>
              </a:ext>
            </a:extLst>
          </p:cNvPr>
          <p:cNvSpPr txBox="1"/>
          <p:nvPr/>
        </p:nvSpPr>
        <p:spPr>
          <a:xfrm>
            <a:off x="2787135" y="5925341"/>
            <a:ext cx="81785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400" b="1" dirty="0">
                <a:latin typeface="Adobe 고딕 Std B" panose="020B0800000000000000" pitchFamily="34" charset="-127"/>
                <a:ea typeface="Adobe 고딕 Std B" panose="020B0800000000000000" pitchFamily="34" charset="-127"/>
              </a:rPr>
              <a:t>5. Q&amp;A</a:t>
            </a:r>
          </a:p>
        </p:txBody>
      </p:sp>
      <p:pic>
        <p:nvPicPr>
          <p:cNvPr id="13" name="그림 12">
            <a:extLst>
              <a:ext uri="{FF2B5EF4-FFF2-40B4-BE49-F238E27FC236}">
                <a16:creationId xmlns:a16="http://schemas.microsoft.com/office/drawing/2014/main" id="{8492F3AC-E9DA-4CB8-889F-0311284F6CB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52327" y="3739108"/>
            <a:ext cx="169791" cy="2494009"/>
          </a:xfrm>
          <a:prstGeom prst="rect">
            <a:avLst/>
          </a:prstGeom>
        </p:spPr>
      </p:pic>
      <p:pic>
        <p:nvPicPr>
          <p:cNvPr id="16" name="그림 15">
            <a:extLst>
              <a:ext uri="{FF2B5EF4-FFF2-40B4-BE49-F238E27FC236}">
                <a16:creationId xmlns:a16="http://schemas.microsoft.com/office/drawing/2014/main" id="{FCE7BA02-44A8-4E34-A227-8494EF76131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97829" y="777647"/>
            <a:ext cx="5285521" cy="2753230"/>
          </a:xfrm>
          <a:prstGeom prst="rect">
            <a:avLst/>
          </a:prstGeom>
        </p:spPr>
      </p:pic>
      <p:pic>
        <p:nvPicPr>
          <p:cNvPr id="20" name="그림 19">
            <a:extLst>
              <a:ext uri="{FF2B5EF4-FFF2-40B4-BE49-F238E27FC236}">
                <a16:creationId xmlns:a16="http://schemas.microsoft.com/office/drawing/2014/main" id="{829B73DA-13D9-4735-A5AF-5635A066D98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8083" y="989351"/>
            <a:ext cx="72473" cy="2893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44576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슬라이드 번호 개체 틀 8"/>
          <p:cNvSpPr txBox="1">
            <a:spLocks/>
          </p:cNvSpPr>
          <p:nvPr/>
        </p:nvSpPr>
        <p:spPr>
          <a:xfrm>
            <a:off x="7686675" y="6438900"/>
            <a:ext cx="14573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r" defTabSz="457200" rtl="0" eaLnBrk="1" latinLnBrk="0" hangingPunct="1">
              <a:defRPr kumimoji="1" sz="1400" b="0" i="0" kern="1200">
                <a:ln w="3175">
                  <a:solidFill>
                    <a:schemeClr val="tx1">
                      <a:alpha val="4000"/>
                    </a:schemeClr>
                  </a:solidFill>
                </a:ln>
                <a:solidFill>
                  <a:schemeClr val="tx1"/>
                </a:solidFill>
                <a:latin typeface="+mn-ea"/>
                <a:ea typeface="+mn-ea"/>
                <a:cs typeface="Malgun Gothic"/>
              </a:defRPr>
            </a:lvl1pPr>
            <a:lvl2pPr marL="457200" algn="l" defTabSz="4572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altLang="ja-JP" dirty="0">
                <a:ln w="3175">
                  <a:solidFill>
                    <a:prstClr val="black">
                      <a:alpha val="4000"/>
                    </a:prstClr>
                  </a:solidFill>
                </a:ln>
                <a:solidFill>
                  <a:prstClr val="black"/>
                </a:solidFill>
              </a:rPr>
              <a:t>13</a:t>
            </a:r>
            <a:endParaRPr lang="ja-JP" altLang="en-US" dirty="0">
              <a:ln w="3175">
                <a:solidFill>
                  <a:prstClr val="black">
                    <a:alpha val="4000"/>
                  </a:prstClr>
                </a:solidFill>
              </a:ln>
              <a:solidFill>
                <a:prstClr val="black"/>
              </a:solidFill>
            </a:endParaRPr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24C7B09B-204F-41A9-9873-C6E321D534D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8083" y="989351"/>
            <a:ext cx="72473" cy="28938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25451A80-1E21-47BA-A2F4-76A7A555FB67}"/>
              </a:ext>
            </a:extLst>
          </p:cNvPr>
          <p:cNvSpPr txBox="1"/>
          <p:nvPr/>
        </p:nvSpPr>
        <p:spPr>
          <a:xfrm>
            <a:off x="641805" y="938892"/>
            <a:ext cx="118974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b="1" dirty="0">
                <a:latin typeface="Adobe 고딕 Std B" panose="020B0800000000000000" pitchFamily="34" charset="-127"/>
                <a:ea typeface="Adobe 고딕 Std B" panose="020B0800000000000000" pitchFamily="34" charset="-127"/>
              </a:rPr>
              <a:t>분석 개요</a:t>
            </a:r>
            <a:endParaRPr lang="en-US" altLang="ko-KR" b="1" dirty="0">
              <a:latin typeface="Adobe 고딕 Std B" panose="020B0800000000000000" pitchFamily="34" charset="-127"/>
              <a:ea typeface="Adobe 고딕 Std B" panose="020B0800000000000000" pitchFamily="34" charset="-127"/>
            </a:endParaRPr>
          </a:p>
        </p:txBody>
      </p:sp>
      <p:sp>
        <p:nvSpPr>
          <p:cNvPr id="7" name="AutoShape 24">
            <a:extLst>
              <a:ext uri="{FF2B5EF4-FFF2-40B4-BE49-F238E27FC236}">
                <a16:creationId xmlns:a16="http://schemas.microsoft.com/office/drawing/2014/main" id="{0314C6B8-1039-4652-80AF-87DE8AAF5A9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65577" y="967168"/>
            <a:ext cx="942254" cy="325460"/>
          </a:xfrm>
          <a:prstGeom prst="homePlate">
            <a:avLst>
              <a:gd name="adj" fmla="val 0"/>
            </a:avLst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86364" tIns="43184" rIns="86364" bIns="44432" anchor="ctr">
            <a:spAutoFit/>
          </a:bodyPr>
          <a:lstStyle/>
          <a:p>
            <a:pPr marL="0" marR="0" lvl="0" indent="0" defTabSz="914400" eaLnBrk="1" fontAlgn="ctr" latinLnBrk="0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>
                <a:tab pos="1028290" algn="l"/>
              </a:tabLst>
              <a:defRPr/>
            </a:pPr>
            <a:r>
              <a:rPr kumimoji="1" lang="ko-KR" altLang="en-US" sz="1400" b="1" i="0" u="none" strike="noStrike" kern="0" cap="none" spc="0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</a:rPr>
              <a:t>분석 대상</a:t>
            </a:r>
            <a:endParaRPr kumimoji="1" lang="en-US" altLang="ko-KR" sz="1400" b="1" i="0" u="none" strike="noStrike" kern="0" cap="none" spc="0" normalizeH="0" baseline="0" noProof="0" dirty="0">
              <a:ln>
                <a:solidFill>
                  <a:srgbClr val="4F81BD">
                    <a:alpha val="0"/>
                  </a:srgbClr>
                </a:solidFill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8" name="Rectangle 11">
            <a:extLst>
              <a:ext uri="{FF2B5EF4-FFF2-40B4-BE49-F238E27FC236}">
                <a16:creationId xmlns:a16="http://schemas.microsoft.com/office/drawing/2014/main" id="{08F8E508-7EF4-4E47-819F-65A7C3337BF2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289091" y="1075898"/>
            <a:ext cx="108000" cy="108000"/>
          </a:xfrm>
          <a:prstGeom prst="rect">
            <a:avLst/>
          </a:prstGeom>
          <a:solidFill>
            <a:srgbClr val="0B64AF"/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>
            <a:outerShdw dist="25400" dir="2700000" algn="ctr" rotWithShape="0">
              <a:srgbClr val="919191"/>
            </a:outerShdw>
          </a:effectLst>
        </p:spPr>
        <p:txBody>
          <a:bodyPr wrap="none" lIns="36000" tIns="36000" rIns="36000" bIns="36000" anchor="ctr"/>
          <a:lstStyle/>
          <a:p>
            <a:pPr algn="ctr">
              <a:defRPr/>
            </a:pPr>
            <a:endParaRPr lang="ko-KR" altLang="en-US" sz="1600" b="1" spc="-150" dirty="0">
              <a:ln>
                <a:solidFill>
                  <a:srgbClr val="000000">
                    <a:alpha val="0"/>
                  </a:srgbClr>
                </a:solidFill>
              </a:ln>
              <a:latin typeface="맑은 고딕" pitchFamily="50" charset="-127"/>
              <a:ea typeface="맑은 고딕" pitchFamily="50" charset="-127"/>
            </a:endParaRPr>
          </a:p>
        </p:txBody>
      </p:sp>
      <p:pic>
        <p:nvPicPr>
          <p:cNvPr id="9" name="Picture 2" descr="뷔페 저녁 식사 레스토랑 외식 음식 개념 로열티 무료 사진, 그림, 이미지 그리고 스톡포토그래피. Image 53101947.">
            <a:extLst>
              <a:ext uri="{FF2B5EF4-FFF2-40B4-BE49-F238E27FC236}">
                <a16:creationId xmlns:a16="http://schemas.microsoft.com/office/drawing/2014/main" id="{27EBA786-ECB1-4015-B117-83A35B0B21A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20891" y="1836134"/>
            <a:ext cx="2046680" cy="2057864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4" name="Picture 6" descr="3세대 대형마트]① '공간 혁신'으로 고객을 유혹하다 - 시사저널e - 온라인 저널리즘의 미래">
            <a:extLst>
              <a:ext uri="{FF2B5EF4-FFF2-40B4-BE49-F238E27FC236}">
                <a16:creationId xmlns:a16="http://schemas.microsoft.com/office/drawing/2014/main" id="{9B2F2591-0994-444D-9C47-A14A9245E77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94487" y="1902593"/>
            <a:ext cx="2084080" cy="1991405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699DC1A1-7182-4910-9F87-730D7E5A0E19}"/>
              </a:ext>
            </a:extLst>
          </p:cNvPr>
          <p:cNvSpPr txBox="1"/>
          <p:nvPr/>
        </p:nvSpPr>
        <p:spPr>
          <a:xfrm>
            <a:off x="1620891" y="4308197"/>
            <a:ext cx="2211367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/>
              <a:t>* </a:t>
            </a:r>
            <a:r>
              <a:rPr lang="ko-KR" altLang="en-US" dirty="0"/>
              <a:t>음식 블로그에서 최다</a:t>
            </a:r>
            <a:r>
              <a:rPr lang="en-US" altLang="ko-KR" dirty="0"/>
              <a:t>, </a:t>
            </a:r>
            <a:r>
              <a:rPr lang="ko-KR" altLang="en-US" dirty="0"/>
              <a:t>두번째로 많이 언급된 음식</a:t>
            </a:r>
            <a:endParaRPr lang="en-US" altLang="ko-KR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ko-KR" dirty="0"/>
          </a:p>
          <a:p>
            <a:r>
              <a:rPr lang="en-US" altLang="ko-KR" dirty="0"/>
              <a:t>* </a:t>
            </a:r>
            <a:r>
              <a:rPr lang="ko-KR" altLang="en-US" dirty="0"/>
              <a:t>특정 계절에 많이 먹는 음식</a:t>
            </a:r>
            <a:r>
              <a:rPr lang="en-US" altLang="ko-KR" dirty="0"/>
              <a:t>(</a:t>
            </a:r>
            <a:r>
              <a:rPr lang="ko-KR" altLang="en-US" dirty="0"/>
              <a:t>냉면</a:t>
            </a:r>
            <a:r>
              <a:rPr lang="en-US" altLang="ko-KR" dirty="0"/>
              <a:t>, </a:t>
            </a:r>
            <a:r>
              <a:rPr lang="ko-KR" altLang="en-US" dirty="0"/>
              <a:t>전골</a:t>
            </a:r>
            <a:r>
              <a:rPr lang="en-US" altLang="ko-KR" dirty="0"/>
              <a:t>)</a:t>
            </a:r>
            <a:r>
              <a:rPr lang="ko-KR" altLang="en-US" dirty="0"/>
              <a:t>의 월별 언급 수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F46F4BE-CF2D-4723-8E99-6F4C455BD6F5}"/>
              </a:ext>
            </a:extLst>
          </p:cNvPr>
          <p:cNvSpPr txBox="1"/>
          <p:nvPr/>
        </p:nvSpPr>
        <p:spPr>
          <a:xfrm>
            <a:off x="5430533" y="4423144"/>
            <a:ext cx="2211367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/>
              <a:t>* </a:t>
            </a:r>
            <a:r>
              <a:rPr lang="ko-KR" altLang="en-US" dirty="0"/>
              <a:t>음식 식재료의 매입 </a:t>
            </a:r>
            <a:r>
              <a:rPr lang="ko-KR" altLang="en-US" dirty="0" err="1"/>
              <a:t>매출량</a:t>
            </a:r>
            <a:endParaRPr lang="en-US" altLang="ko-KR" dirty="0"/>
          </a:p>
          <a:p>
            <a:endParaRPr lang="ko-KR" altLang="en-US" dirty="0"/>
          </a:p>
          <a:p>
            <a:r>
              <a:rPr lang="en-US" altLang="ko-KR" dirty="0"/>
              <a:t>* </a:t>
            </a:r>
            <a:r>
              <a:rPr lang="ko-KR" altLang="en-US" dirty="0"/>
              <a:t>특정 계절에 많이 먹는 음식 식재료의 매입 </a:t>
            </a:r>
            <a:r>
              <a:rPr lang="ko-KR" altLang="en-US" dirty="0" err="1"/>
              <a:t>매출량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25706300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그림 6">
            <a:extLst>
              <a:ext uri="{FF2B5EF4-FFF2-40B4-BE49-F238E27FC236}">
                <a16:creationId xmlns:a16="http://schemas.microsoft.com/office/drawing/2014/main" id="{FA1D0E33-82BA-4245-B9C4-D3BF0CF459E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8083" y="989351"/>
            <a:ext cx="72473" cy="28938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83066B3B-8C2B-4763-8DE3-DE01F708475B}"/>
              </a:ext>
            </a:extLst>
          </p:cNvPr>
          <p:cNvSpPr txBox="1"/>
          <p:nvPr/>
        </p:nvSpPr>
        <p:spPr>
          <a:xfrm>
            <a:off x="641805" y="938892"/>
            <a:ext cx="118974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b="1" dirty="0">
                <a:latin typeface="Adobe 고딕 Std B" panose="020B0800000000000000" pitchFamily="34" charset="-127"/>
                <a:ea typeface="Adobe 고딕 Std B" panose="020B0800000000000000" pitchFamily="34" charset="-127"/>
              </a:rPr>
              <a:t>분석 개요</a:t>
            </a:r>
            <a:endParaRPr lang="en-US" altLang="ko-KR" b="1" dirty="0">
              <a:latin typeface="Adobe 고딕 Std B" panose="020B0800000000000000" pitchFamily="34" charset="-127"/>
              <a:ea typeface="Adobe 고딕 Std B" panose="020B0800000000000000" pitchFamily="34" charset="-127"/>
            </a:endParaRPr>
          </a:p>
        </p:txBody>
      </p:sp>
      <p:sp>
        <p:nvSpPr>
          <p:cNvPr id="9" name="AutoShape 24">
            <a:extLst>
              <a:ext uri="{FF2B5EF4-FFF2-40B4-BE49-F238E27FC236}">
                <a16:creationId xmlns:a16="http://schemas.microsoft.com/office/drawing/2014/main" id="{91B3DAFF-988E-4338-834D-4FC4F6EB5FF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65577" y="967168"/>
            <a:ext cx="1121790" cy="325460"/>
          </a:xfrm>
          <a:prstGeom prst="homePlate">
            <a:avLst>
              <a:gd name="adj" fmla="val 0"/>
            </a:avLst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86364" tIns="43184" rIns="86364" bIns="44432" anchor="ctr">
            <a:spAutoFit/>
          </a:bodyPr>
          <a:lstStyle/>
          <a:p>
            <a:pPr marL="0" marR="0" lvl="0" indent="0" defTabSz="914400" eaLnBrk="1" fontAlgn="ctr" latinLnBrk="0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>
                <a:tab pos="1028290" algn="l"/>
              </a:tabLst>
              <a:defRPr/>
            </a:pPr>
            <a:r>
              <a:rPr lang="ko-KR" altLang="en-US" sz="1400" b="1" kern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/>
                </a:solidFill>
              </a:rPr>
              <a:t>활용 데이터</a:t>
            </a:r>
            <a:endParaRPr kumimoji="1" lang="en-US" altLang="ko-KR" sz="1400" b="1" i="0" u="none" strike="noStrike" kern="0" cap="none" spc="0" normalizeH="0" baseline="0" noProof="0" dirty="0">
              <a:ln>
                <a:solidFill>
                  <a:srgbClr val="4F81BD">
                    <a:alpha val="0"/>
                  </a:srgbClr>
                </a:solidFill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0" name="Rectangle 11">
            <a:extLst>
              <a:ext uri="{FF2B5EF4-FFF2-40B4-BE49-F238E27FC236}">
                <a16:creationId xmlns:a16="http://schemas.microsoft.com/office/drawing/2014/main" id="{34F0C0CA-D54F-40BB-BC4B-70A062EB1D83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289091" y="1075898"/>
            <a:ext cx="108000" cy="108000"/>
          </a:xfrm>
          <a:prstGeom prst="rect">
            <a:avLst/>
          </a:prstGeom>
          <a:solidFill>
            <a:srgbClr val="0B64AF"/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>
            <a:outerShdw dist="25400" dir="2700000" algn="ctr" rotWithShape="0">
              <a:srgbClr val="919191"/>
            </a:outerShdw>
          </a:effectLst>
        </p:spPr>
        <p:txBody>
          <a:bodyPr wrap="none" lIns="36000" tIns="36000" rIns="36000" bIns="36000" anchor="ctr"/>
          <a:lstStyle/>
          <a:p>
            <a:pPr algn="ctr">
              <a:defRPr/>
            </a:pPr>
            <a:endParaRPr lang="ko-KR" altLang="en-US" sz="1600" b="1" spc="-150" dirty="0">
              <a:ln>
                <a:solidFill>
                  <a:srgbClr val="000000">
                    <a:alpha val="0"/>
                  </a:srgbClr>
                </a:solidFill>
              </a:ln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5" name="Rectangle 3">
            <a:extLst>
              <a:ext uri="{FF2B5EF4-FFF2-40B4-BE49-F238E27FC236}">
                <a16:creationId xmlns:a16="http://schemas.microsoft.com/office/drawing/2014/main" id="{D19EB544-7B8C-48C9-B451-F3BE8200FF5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60650" y="993775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11" name="제목 1">
            <a:extLst>
              <a:ext uri="{FF2B5EF4-FFF2-40B4-BE49-F238E27FC236}">
                <a16:creationId xmlns:a16="http://schemas.microsoft.com/office/drawing/2014/main" id="{1C09358A-786B-4311-80B6-044D4DD13D49}"/>
              </a:ext>
            </a:extLst>
          </p:cNvPr>
          <p:cNvSpPr txBox="1">
            <a:spLocks/>
          </p:cNvSpPr>
          <p:nvPr/>
        </p:nvSpPr>
        <p:spPr>
          <a:xfrm>
            <a:off x="289525" y="2368550"/>
            <a:ext cx="7772400" cy="3474612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 algn="l" defTabSz="457200" rtl="0" eaLnBrk="1" latinLnBrk="1" hangingPunct="1">
              <a:lnSpc>
                <a:spcPct val="100000"/>
              </a:lnSpc>
              <a:spcBef>
                <a:spcPts val="600"/>
              </a:spcBef>
              <a:buClr>
                <a:srgbClr val="12315D"/>
              </a:buClr>
              <a:buSzPct val="100000"/>
              <a:buFont typeface="Wingdings" charset="2"/>
              <a:buChar char=""/>
              <a:defRPr kumimoji="1" sz="1600" b="1" kern="1200" spc="-150" baseline="0">
                <a:ln w="3175">
                  <a:solidFill>
                    <a:schemeClr val="tx1">
                      <a:alpha val="7000"/>
                    </a:schemeClr>
                  </a:solidFill>
                </a:ln>
                <a:solidFill>
                  <a:schemeClr val="tx1"/>
                </a:solidFill>
                <a:latin typeface="+mn-ea"/>
                <a:ea typeface="+mn-ea"/>
                <a:cs typeface="Malgun Gothic"/>
              </a:defRPr>
            </a:lvl1pPr>
            <a:lvl2pPr marL="540000" indent="-285750" algn="l" defTabSz="457200" rtl="0" eaLnBrk="1" latinLnBrk="1" hangingPunct="1">
              <a:lnSpc>
                <a:spcPct val="100000"/>
              </a:lnSpc>
              <a:spcBef>
                <a:spcPts val="600"/>
              </a:spcBef>
              <a:buClr>
                <a:srgbClr val="3C3C3B"/>
              </a:buClr>
              <a:buFont typeface="Arial"/>
              <a:buChar char="❍"/>
              <a:defRPr kumimoji="1" sz="1400" kern="1200" spc="-150" baseline="0">
                <a:ln w="3175">
                  <a:solidFill>
                    <a:schemeClr val="tx1">
                      <a:alpha val="8000"/>
                    </a:schemeClr>
                  </a:solidFill>
                </a:ln>
                <a:solidFill>
                  <a:schemeClr val="tx1"/>
                </a:solidFill>
                <a:latin typeface="+mn-ea"/>
                <a:ea typeface="+mn-ea"/>
                <a:cs typeface="Malgun Gothic"/>
              </a:defRPr>
            </a:lvl2pPr>
            <a:lvl3pPr marL="748800" indent="-228600" algn="l" defTabSz="457200" rtl="0" eaLnBrk="1" latinLnBrk="1" hangingPunct="1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AppleGothic"/>
              <a:buChar char="▹"/>
              <a:defRPr kumimoji="1" sz="1200" kern="1200" spc="-150" baseline="0">
                <a:ln w="3175">
                  <a:solidFill>
                    <a:schemeClr val="tx1">
                      <a:alpha val="5000"/>
                    </a:schemeClr>
                  </a:solidFill>
                </a:ln>
                <a:solidFill>
                  <a:schemeClr val="tx1"/>
                </a:solidFill>
                <a:latin typeface="+mn-ea"/>
                <a:ea typeface="+mn-ea"/>
                <a:cs typeface="Malgun Gothic"/>
              </a:defRPr>
            </a:lvl3pPr>
            <a:lvl4pPr marL="990000" indent="-228600" algn="l" defTabSz="457200" rtl="0" eaLnBrk="1" latinLnBrk="1" hangingPunct="1">
              <a:lnSpc>
                <a:spcPct val="100000"/>
              </a:lnSpc>
              <a:spcBef>
                <a:spcPts val="600"/>
              </a:spcBef>
              <a:buFont typeface="Arial"/>
              <a:buChar char="▪"/>
              <a:defRPr kumimoji="1" sz="1200" kern="1200" spc="-150" baseline="0">
                <a:ln w="3175">
                  <a:solidFill>
                    <a:schemeClr val="tx1">
                      <a:alpha val="9000"/>
                    </a:schemeClr>
                  </a:solidFill>
                </a:ln>
                <a:solidFill>
                  <a:schemeClr val="tx1"/>
                </a:solidFill>
                <a:latin typeface="+mn-ea"/>
                <a:ea typeface="+mn-ea"/>
                <a:cs typeface="Malgun Gothic"/>
              </a:defRPr>
            </a:lvl4pPr>
            <a:lvl5pPr marL="1231200" indent="-228600" algn="l" defTabSz="457200" rtl="0" eaLnBrk="1" latinLnBrk="1" hangingPunct="1">
              <a:lnSpc>
                <a:spcPct val="100000"/>
              </a:lnSpc>
              <a:spcBef>
                <a:spcPts val="600"/>
              </a:spcBef>
              <a:buClr>
                <a:srgbClr val="800000"/>
              </a:buClr>
              <a:buFont typeface="Wingdings" charset="2"/>
              <a:buChar char="⁃"/>
              <a:defRPr kumimoji="1" sz="1200" kern="1200" spc="-150" baseline="0">
                <a:ln w="3175">
                  <a:solidFill>
                    <a:schemeClr val="tx1">
                      <a:alpha val="8000"/>
                    </a:schemeClr>
                  </a:solidFill>
                </a:ln>
                <a:solidFill>
                  <a:schemeClr val="tx1"/>
                </a:solidFill>
                <a:latin typeface="+mn-ea"/>
                <a:ea typeface="+mn-ea"/>
                <a:cs typeface="Malgun Gothic"/>
              </a:defRPr>
            </a:lvl5pPr>
            <a:lvl6pPr marL="2514600" indent="-228600" algn="l" defTabSz="457200" rtl="0" eaLnBrk="1" latinLnBrk="1" hangingPunct="1">
              <a:spcBef>
                <a:spcPct val="20000"/>
              </a:spcBef>
              <a:buFont typeface="Arial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1" hangingPunct="1">
              <a:spcBef>
                <a:spcPct val="20000"/>
              </a:spcBef>
              <a:buFont typeface="Arial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1" hangingPunct="1">
              <a:spcBef>
                <a:spcPct val="20000"/>
              </a:spcBef>
              <a:buFont typeface="Arial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1" hangingPunct="1">
              <a:spcBef>
                <a:spcPct val="20000"/>
              </a:spcBef>
              <a:buFont typeface="Arial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52500" indent="0" fontAlgn="base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ko-KR" altLang="en-US" sz="1800" kern="100" spc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① 외식 소비 패턴 데이터</a:t>
            </a:r>
            <a:endParaRPr lang="en-US" altLang="ko-KR" sz="1800" kern="100" spc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952500" indent="0" fontAlgn="base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n-US" altLang="ko-KR" sz="1800" kern="100" spc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	- </a:t>
            </a:r>
            <a:r>
              <a:rPr lang="ko-KR" altLang="en-US" sz="1800" kern="100" spc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음식 블로그에서 메뉴의 언급 수를 알기 위해서</a:t>
            </a:r>
            <a:endParaRPr lang="en-US" altLang="ko-KR" sz="1800" kern="100" spc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952500" indent="0" fontAlgn="base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ko-KR" altLang="en-US" sz="1800" kern="100" spc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② 장보고 식자재 마트의 월별 식재료 매출 상품 데이터</a:t>
            </a:r>
            <a:endParaRPr lang="en-US" altLang="ko-KR" sz="1800" kern="100" spc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952500" indent="0" fontAlgn="base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n-US" altLang="ko-KR" sz="1800" kern="100" spc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	- </a:t>
            </a:r>
            <a:r>
              <a:rPr lang="ko-KR" altLang="en-US" sz="1800" kern="100" spc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최다</a:t>
            </a:r>
            <a:r>
              <a:rPr lang="en-US" altLang="ko-KR" sz="1800" kern="100" spc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2</a:t>
            </a:r>
            <a:r>
              <a:rPr lang="ko-KR" altLang="en-US" sz="1800" kern="100" spc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번째로 많이 언급된 음식의 재료의 매출 데이터</a:t>
            </a:r>
            <a:endParaRPr lang="ko-KR" altLang="en-US" sz="1800" kern="100" spc="0" dirty="0">
              <a:solidFill>
                <a:srgbClr val="000000"/>
              </a:solidFill>
              <a:latin typeface="맑은 고딕" panose="020B0503020000020004" pitchFamily="50" charset="-127"/>
            </a:endParaRPr>
          </a:p>
          <a:p>
            <a:pPr marL="952500" indent="0" fontAlgn="base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ko-KR" altLang="en-US" sz="1800" kern="100" spc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③ 장보고 식자재 마트의 월별 식재료 매입 상품 데이터</a:t>
            </a:r>
            <a:endParaRPr lang="en-US" altLang="ko-KR" sz="1800" kern="100" spc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952500" indent="0" fontAlgn="base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n-US" altLang="ko-KR" sz="1800" kern="100" spc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	- </a:t>
            </a:r>
            <a:r>
              <a:rPr lang="ko-KR" altLang="en-US" sz="1800" kern="100" spc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최다</a:t>
            </a:r>
            <a:r>
              <a:rPr lang="en-US" altLang="ko-KR" sz="1800" kern="100" spc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2</a:t>
            </a:r>
            <a:r>
              <a:rPr lang="ko-KR" altLang="en-US" sz="1800" kern="100" spc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번째로 많이 언급된 음식의 재료의 매입 데이터</a:t>
            </a:r>
            <a:endParaRPr lang="en-US" altLang="ko-KR" sz="1800" kern="100" spc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84174317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그림 5">
            <a:extLst>
              <a:ext uri="{FF2B5EF4-FFF2-40B4-BE49-F238E27FC236}">
                <a16:creationId xmlns:a16="http://schemas.microsoft.com/office/drawing/2014/main" id="{39537FEC-3AD2-4BD6-ACFF-DFFBDBA16C3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8083" y="989351"/>
            <a:ext cx="72473" cy="28938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EA19321D-903B-4A98-85E8-2C99678FFA54}"/>
              </a:ext>
            </a:extLst>
          </p:cNvPr>
          <p:cNvSpPr txBox="1"/>
          <p:nvPr/>
        </p:nvSpPr>
        <p:spPr>
          <a:xfrm>
            <a:off x="641805" y="938892"/>
            <a:ext cx="204575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b="1" dirty="0">
                <a:latin typeface="Adobe 고딕 Std B" panose="020B0800000000000000" pitchFamily="34" charset="-127"/>
                <a:ea typeface="Adobe 고딕 Std B" panose="020B0800000000000000" pitchFamily="34" charset="-127"/>
              </a:rPr>
              <a:t>분석 절차 및 방법</a:t>
            </a:r>
            <a:endParaRPr lang="en-US" altLang="ko-KR" b="1" dirty="0">
              <a:latin typeface="Adobe 고딕 Std B" panose="020B0800000000000000" pitchFamily="34" charset="-127"/>
              <a:ea typeface="Adobe 고딕 Std B" panose="020B0800000000000000" pitchFamily="34" charset="-127"/>
            </a:endParaRPr>
          </a:p>
        </p:txBody>
      </p:sp>
      <p:sp>
        <p:nvSpPr>
          <p:cNvPr id="11" name="제목 1">
            <a:extLst>
              <a:ext uri="{FF2B5EF4-FFF2-40B4-BE49-F238E27FC236}">
                <a16:creationId xmlns:a16="http://schemas.microsoft.com/office/drawing/2014/main" id="{DC469786-1918-4B9C-BB32-9DAFE731359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6826" y="1955246"/>
            <a:ext cx="7772400" cy="4384776"/>
          </a:xfrm>
        </p:spPr>
        <p:txBody>
          <a:bodyPr>
            <a:normAutofit/>
          </a:bodyPr>
          <a:lstStyle/>
          <a:p>
            <a:pPr marL="1206500" marR="0" indent="-254000" algn="l" fontAlgn="base" latinLnBrk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ko-KR" altLang="en-US" sz="1800" kern="100" spc="0" dirty="0"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① 외식 소비 패턴 데이터로부터 최다</a:t>
            </a:r>
            <a:r>
              <a:rPr lang="en-US" altLang="ko-KR" sz="1800" kern="100" spc="0" dirty="0"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, 2</a:t>
            </a:r>
            <a:r>
              <a:rPr lang="ko-KR" altLang="en-US" sz="1800" kern="100" spc="0" dirty="0"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번째로 많이 언급된 메뉴를 수집한다</a:t>
            </a:r>
            <a:r>
              <a:rPr lang="en-US" altLang="ko-KR" sz="1800" kern="100" spc="0" dirty="0"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</a:p>
          <a:p>
            <a:pPr marL="1206500" indent="-254000" fontAlgn="base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ko-KR" altLang="en-US" sz="1800" kern="100" spc="0" dirty="0"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② 매출</a:t>
            </a:r>
            <a:r>
              <a:rPr lang="en-US" altLang="ko-KR" sz="1800" kern="100" spc="0" dirty="0"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800" kern="100" spc="0" dirty="0"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매입 상품 거래 카테고리 데이터를 이용하여 최다</a:t>
            </a:r>
            <a:r>
              <a:rPr lang="en-US" altLang="ko-KR" sz="1800" kern="100" spc="0" dirty="0"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, 2</a:t>
            </a:r>
            <a:r>
              <a:rPr lang="ko-KR" altLang="en-US" sz="1800" kern="100" spc="0" dirty="0"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번째로 많이 언급된 음식의 식재료를 월별로 매입 </a:t>
            </a:r>
            <a:r>
              <a:rPr lang="ko-KR" altLang="en-US" sz="1800" kern="100" spc="0" dirty="0" err="1"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매출량을</a:t>
            </a:r>
            <a:r>
              <a:rPr lang="ko-KR" altLang="en-US" sz="1800" kern="100" spc="0" dirty="0"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 수집 비교한다</a:t>
            </a:r>
            <a:r>
              <a:rPr lang="en-US" altLang="ko-KR" sz="1800" kern="100" spc="0" dirty="0"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. </a:t>
            </a:r>
            <a:endParaRPr lang="ko-KR" altLang="en-US" sz="1800" kern="100" spc="0" dirty="0">
              <a:solidFill>
                <a:srgbClr val="000000"/>
              </a:solidFill>
              <a:effectLst/>
              <a:latin typeface="맑은 고딕" panose="020B0503020000020004" pitchFamily="50" charset="-127"/>
            </a:endParaRPr>
          </a:p>
          <a:p>
            <a:pPr marL="1206500" indent="-254000" fontAlgn="base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ko-KR" altLang="en-US" sz="1800" kern="100" spc="0" dirty="0"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③ 외식 소비 패턴 데이터로부터 월별 계절 음식의 블로그 언급 수를 수집한다</a:t>
            </a:r>
            <a:r>
              <a:rPr lang="en-US" altLang="ko-KR" sz="1800" kern="100" spc="0" dirty="0"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. </a:t>
            </a:r>
          </a:p>
          <a:p>
            <a:pPr marL="1206500" indent="-254000" fontAlgn="base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ko-KR" altLang="en-US" sz="1800" kern="100" spc="0" dirty="0"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④ 매출</a:t>
            </a:r>
            <a:r>
              <a:rPr lang="en-US" altLang="ko-KR" sz="1800" kern="100" spc="0" dirty="0"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800" kern="100" spc="0" dirty="0"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매입 상품 거래 카테고리 데이터를 이용하여 월별 계절 음식의 </a:t>
            </a:r>
            <a:r>
              <a:rPr lang="ko-KR" altLang="en-US" sz="1800" kern="100" spc="0" dirty="0" err="1"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매출량</a:t>
            </a:r>
            <a:r>
              <a:rPr lang="en-US" altLang="ko-KR" sz="1800" kern="100" spc="0" dirty="0"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800" kern="100" spc="0" dirty="0" err="1"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매입량을</a:t>
            </a:r>
            <a:r>
              <a:rPr lang="ko-KR" altLang="en-US" sz="1800" kern="100" spc="0" dirty="0"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 수집하여 비교한다</a:t>
            </a:r>
            <a:r>
              <a:rPr lang="en-US" altLang="ko-KR" sz="1800" kern="100" spc="0" dirty="0"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. 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28265057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그림 5">
            <a:extLst>
              <a:ext uri="{FF2B5EF4-FFF2-40B4-BE49-F238E27FC236}">
                <a16:creationId xmlns:a16="http://schemas.microsoft.com/office/drawing/2014/main" id="{B3621F55-A1D8-4B24-84D0-359DF29796C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8083" y="989351"/>
            <a:ext cx="72473" cy="28938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A615EBD3-0246-4F44-BADB-17CF8772CDB3}"/>
              </a:ext>
            </a:extLst>
          </p:cNvPr>
          <p:cNvSpPr txBox="1"/>
          <p:nvPr/>
        </p:nvSpPr>
        <p:spPr>
          <a:xfrm>
            <a:off x="641805" y="938892"/>
            <a:ext cx="118974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b="1" dirty="0">
                <a:latin typeface="Adobe 고딕 Std B" panose="020B0800000000000000" pitchFamily="34" charset="-127"/>
                <a:ea typeface="Adobe 고딕 Std B" panose="020B0800000000000000" pitchFamily="34" charset="-127"/>
              </a:rPr>
              <a:t>분석 결과</a:t>
            </a:r>
            <a:endParaRPr lang="en-US" altLang="ko-KR" b="1" dirty="0">
              <a:latin typeface="Adobe 고딕 Std B" panose="020B0800000000000000" pitchFamily="34" charset="-127"/>
              <a:ea typeface="Adobe 고딕 Std B" panose="020B0800000000000000" pitchFamily="34" charset="-127"/>
            </a:endParaRPr>
          </a:p>
        </p:txBody>
      </p:sp>
      <p:sp>
        <p:nvSpPr>
          <p:cNvPr id="8" name="AutoShape 24">
            <a:extLst>
              <a:ext uri="{FF2B5EF4-FFF2-40B4-BE49-F238E27FC236}">
                <a16:creationId xmlns:a16="http://schemas.microsoft.com/office/drawing/2014/main" id="{3410A605-77BA-430F-ABBF-549E385F40C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65577" y="967168"/>
            <a:ext cx="1939322" cy="325460"/>
          </a:xfrm>
          <a:prstGeom prst="homePlate">
            <a:avLst>
              <a:gd name="adj" fmla="val 0"/>
            </a:avLst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86364" tIns="43184" rIns="86364" bIns="44432" anchor="ctr">
            <a:spAutoFit/>
          </a:bodyPr>
          <a:lstStyle/>
          <a:p>
            <a:pPr marL="0" marR="0" lvl="0" indent="0" defTabSz="914400" eaLnBrk="1" fontAlgn="ctr" latinLnBrk="0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>
                <a:tab pos="1028290" algn="l"/>
              </a:tabLst>
              <a:defRPr/>
            </a:pPr>
            <a:r>
              <a:rPr lang="ko-KR" altLang="en-US" sz="1400" b="1" kern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/>
                </a:solidFill>
              </a:rPr>
              <a:t>외식 소비 패턴 데이터</a:t>
            </a:r>
            <a:endParaRPr kumimoji="1" lang="en-US" altLang="ko-KR" sz="1400" b="1" i="0" u="none" strike="noStrike" kern="0" cap="none" spc="0" normalizeH="0" baseline="0" noProof="0" dirty="0">
              <a:ln>
                <a:solidFill>
                  <a:srgbClr val="4F81BD">
                    <a:alpha val="0"/>
                  </a:srgbClr>
                </a:solidFill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9" name="Rectangle 11">
            <a:extLst>
              <a:ext uri="{FF2B5EF4-FFF2-40B4-BE49-F238E27FC236}">
                <a16:creationId xmlns:a16="http://schemas.microsoft.com/office/drawing/2014/main" id="{CE23551D-93DD-4ADA-A488-7866F676AE99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289091" y="1075898"/>
            <a:ext cx="108000" cy="108000"/>
          </a:xfrm>
          <a:prstGeom prst="rect">
            <a:avLst/>
          </a:prstGeom>
          <a:solidFill>
            <a:srgbClr val="0B64AF"/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>
            <a:outerShdw dist="25400" dir="2700000" algn="ctr" rotWithShape="0">
              <a:srgbClr val="919191"/>
            </a:outerShdw>
          </a:effectLst>
        </p:spPr>
        <p:txBody>
          <a:bodyPr wrap="none" lIns="36000" tIns="36000" rIns="36000" bIns="36000" anchor="ctr"/>
          <a:lstStyle/>
          <a:p>
            <a:pPr algn="ctr">
              <a:defRPr/>
            </a:pPr>
            <a:endParaRPr lang="ko-KR" altLang="en-US" sz="1600" b="1" spc="-150" dirty="0">
              <a:ln>
                <a:solidFill>
                  <a:srgbClr val="000000">
                    <a:alpha val="0"/>
                  </a:srgbClr>
                </a:solidFill>
              </a:ln>
              <a:latin typeface="맑은 고딕" pitchFamily="50" charset="-127"/>
              <a:ea typeface="맑은 고딕" pitchFamily="50" charset="-127"/>
            </a:endParaRPr>
          </a:p>
        </p:txBody>
      </p:sp>
      <p:pic>
        <p:nvPicPr>
          <p:cNvPr id="15" name="그림 14">
            <a:extLst>
              <a:ext uri="{FF2B5EF4-FFF2-40B4-BE49-F238E27FC236}">
                <a16:creationId xmlns:a16="http://schemas.microsoft.com/office/drawing/2014/main" id="{A8543837-BD16-40A7-B730-6764B30EFDF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4090" y="2269677"/>
            <a:ext cx="3897910" cy="2318646"/>
          </a:xfrm>
          <a:prstGeom prst="rect">
            <a:avLst/>
          </a:prstGeom>
        </p:spPr>
      </p:pic>
      <p:pic>
        <p:nvPicPr>
          <p:cNvPr id="17" name="그림 16">
            <a:extLst>
              <a:ext uri="{FF2B5EF4-FFF2-40B4-BE49-F238E27FC236}">
                <a16:creationId xmlns:a16="http://schemas.microsoft.com/office/drawing/2014/main" id="{E449C6B5-A4B9-4AF5-A26A-CD49E373D01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98598" y="2238840"/>
            <a:ext cx="3976964" cy="2380320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9D1D5720-9FB9-428E-9487-F68E1B649AA6}"/>
              </a:ext>
            </a:extLst>
          </p:cNvPr>
          <p:cNvSpPr txBox="1"/>
          <p:nvPr/>
        </p:nvSpPr>
        <p:spPr>
          <a:xfrm>
            <a:off x="1236679" y="4905375"/>
            <a:ext cx="671669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/>
              <a:t>- </a:t>
            </a:r>
            <a:r>
              <a:rPr lang="ko-KR" altLang="en-US" sz="1800" kern="100" spc="0" dirty="0"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사람들은 </a:t>
            </a:r>
            <a:r>
              <a:rPr lang="en-US" altLang="ko-KR" sz="1800" kern="100" spc="0" dirty="0"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2020.08 ~ 2021.05 </a:t>
            </a:r>
            <a:r>
              <a:rPr lang="ko-KR" altLang="en-US" sz="1800" kern="100" spc="0" dirty="0"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기간 동안 샐러드</a:t>
            </a:r>
            <a:r>
              <a:rPr lang="en-US" altLang="ko-KR" sz="1800" kern="100" spc="0" dirty="0"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800" kern="100" spc="0" dirty="0"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돼지고기 구이</a:t>
            </a:r>
            <a:r>
              <a:rPr lang="en-US" altLang="ko-KR" sz="1800" kern="100" spc="0" dirty="0"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800" kern="100" spc="0" dirty="0"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국수</a:t>
            </a:r>
            <a:r>
              <a:rPr lang="en-US" altLang="ko-KR" sz="1800" kern="100" spc="0" dirty="0"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  <a:r>
              <a:rPr lang="ko-KR" altLang="en-US" sz="1800" kern="100" spc="0" dirty="0"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칼국수</a:t>
            </a:r>
            <a:r>
              <a:rPr lang="en-US" altLang="ko-KR" sz="1800" kern="100" spc="0" dirty="0"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  <a:r>
              <a:rPr lang="ko-KR" altLang="en-US" sz="1800" kern="100" spc="0" dirty="0"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수제비 순으로 많이 사 먹었다는 것을 알 수 있다</a:t>
            </a:r>
            <a:r>
              <a:rPr lang="en-US" altLang="ko-KR" sz="1800" kern="100" spc="0" dirty="0">
                <a:solidFill>
                  <a:srgbClr val="000000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. </a:t>
            </a:r>
            <a:endParaRPr lang="ko-KR" altLang="en-US" sz="1800" kern="0" spc="0" dirty="0">
              <a:solidFill>
                <a:srgbClr val="000000"/>
              </a:solidFill>
              <a:effectLst/>
              <a:latin typeface="함초롬바탕" panose="02030604000101010101" pitchFamily="18" charset="-127"/>
            </a:endParaRPr>
          </a:p>
          <a:p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51939484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그림 5">
            <a:extLst>
              <a:ext uri="{FF2B5EF4-FFF2-40B4-BE49-F238E27FC236}">
                <a16:creationId xmlns:a16="http://schemas.microsoft.com/office/drawing/2014/main" id="{338AF10F-F66B-43D1-9097-1DEFD389710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8083" y="989351"/>
            <a:ext cx="72473" cy="28938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A353E51C-0B8C-42E6-B946-F6F8C0DD25DF}"/>
              </a:ext>
            </a:extLst>
          </p:cNvPr>
          <p:cNvSpPr txBox="1"/>
          <p:nvPr/>
        </p:nvSpPr>
        <p:spPr>
          <a:xfrm>
            <a:off x="641805" y="938892"/>
            <a:ext cx="118974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b="1" dirty="0">
                <a:latin typeface="Adobe 고딕 Std B" panose="020B0800000000000000" pitchFamily="34" charset="-127"/>
                <a:ea typeface="Adobe 고딕 Std B" panose="020B0800000000000000" pitchFamily="34" charset="-127"/>
              </a:rPr>
              <a:t>분석 결과</a:t>
            </a:r>
            <a:endParaRPr lang="en-US" altLang="ko-KR" b="1" dirty="0">
              <a:latin typeface="Adobe 고딕 Std B" panose="020B0800000000000000" pitchFamily="34" charset="-127"/>
              <a:ea typeface="Adobe 고딕 Std B" panose="020B0800000000000000" pitchFamily="34" charset="-127"/>
            </a:endParaRPr>
          </a:p>
        </p:txBody>
      </p:sp>
      <p:sp>
        <p:nvSpPr>
          <p:cNvPr id="8" name="AutoShape 24">
            <a:extLst>
              <a:ext uri="{FF2B5EF4-FFF2-40B4-BE49-F238E27FC236}">
                <a16:creationId xmlns:a16="http://schemas.microsoft.com/office/drawing/2014/main" id="{F6A81532-D952-49F6-91FC-DFF33B4F24E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65577" y="967168"/>
            <a:ext cx="2527623" cy="325460"/>
          </a:xfrm>
          <a:prstGeom prst="homePlate">
            <a:avLst>
              <a:gd name="adj" fmla="val 0"/>
            </a:avLst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86364" tIns="43184" rIns="86364" bIns="44432" anchor="ctr">
            <a:spAutoFit/>
          </a:bodyPr>
          <a:lstStyle/>
          <a:p>
            <a:pPr marL="0" marR="0" lvl="0" indent="0" defTabSz="914400" eaLnBrk="1" fontAlgn="ctr" latinLnBrk="0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>
                <a:tab pos="1028290" algn="l"/>
              </a:tabLst>
              <a:defRPr/>
            </a:pPr>
            <a:r>
              <a:rPr lang="ko-KR" altLang="en-US" sz="1400" b="1" kern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/>
                </a:solidFill>
              </a:rPr>
              <a:t>칼국수 식재료 </a:t>
            </a:r>
            <a:r>
              <a:rPr lang="ko-KR" altLang="en-US" sz="1400" b="1" kern="0" dirty="0" err="1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/>
                </a:solidFill>
              </a:rPr>
              <a:t>매출량</a:t>
            </a:r>
            <a:r>
              <a:rPr lang="en-US" altLang="ko-KR" sz="1400" b="1" kern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/>
                </a:solidFill>
              </a:rPr>
              <a:t>, </a:t>
            </a:r>
            <a:r>
              <a:rPr lang="ko-KR" altLang="en-US" sz="1400" b="1" kern="0" dirty="0" err="1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/>
                </a:solidFill>
              </a:rPr>
              <a:t>매입량</a:t>
            </a:r>
            <a:endParaRPr kumimoji="1" lang="en-US" altLang="ko-KR" sz="1400" b="1" i="0" u="none" strike="noStrike" kern="0" cap="none" spc="0" normalizeH="0" baseline="0" noProof="0" dirty="0">
              <a:ln>
                <a:solidFill>
                  <a:srgbClr val="4F81BD">
                    <a:alpha val="0"/>
                  </a:srgbClr>
                </a:solidFill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9" name="Rectangle 11">
            <a:extLst>
              <a:ext uri="{FF2B5EF4-FFF2-40B4-BE49-F238E27FC236}">
                <a16:creationId xmlns:a16="http://schemas.microsoft.com/office/drawing/2014/main" id="{8D03DC3C-49C1-44A9-8EAE-A1DA1D4FB085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289091" y="1075898"/>
            <a:ext cx="108000" cy="108000"/>
          </a:xfrm>
          <a:prstGeom prst="rect">
            <a:avLst/>
          </a:prstGeom>
          <a:solidFill>
            <a:srgbClr val="0B64AF"/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>
            <a:outerShdw dist="25400" dir="2700000" algn="ctr" rotWithShape="0">
              <a:srgbClr val="919191"/>
            </a:outerShdw>
          </a:effectLst>
        </p:spPr>
        <p:txBody>
          <a:bodyPr wrap="none" lIns="36000" tIns="36000" rIns="36000" bIns="36000" anchor="ctr"/>
          <a:lstStyle/>
          <a:p>
            <a:pPr algn="ctr">
              <a:defRPr/>
            </a:pPr>
            <a:endParaRPr lang="ko-KR" altLang="en-US" sz="1600" b="1" spc="-150" dirty="0">
              <a:ln>
                <a:solidFill>
                  <a:srgbClr val="000000">
                    <a:alpha val="0"/>
                  </a:srgbClr>
                </a:solidFill>
              </a:ln>
              <a:latin typeface="맑은 고딕" pitchFamily="50" charset="-127"/>
              <a:ea typeface="맑은 고딕" pitchFamily="50" charset="-127"/>
            </a:endParaRPr>
          </a:p>
        </p:txBody>
      </p:sp>
      <p:pic>
        <p:nvPicPr>
          <p:cNvPr id="1036" name="_x755351000">
            <a:extLst>
              <a:ext uri="{FF2B5EF4-FFF2-40B4-BE49-F238E27FC236}">
                <a16:creationId xmlns:a16="http://schemas.microsoft.com/office/drawing/2014/main" id="{18F0FA8F-E56D-4237-A91C-0A6EB2C642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19853" y="1560930"/>
            <a:ext cx="2339975" cy="25193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5" name="_x755350928">
            <a:extLst>
              <a:ext uri="{FF2B5EF4-FFF2-40B4-BE49-F238E27FC236}">
                <a16:creationId xmlns:a16="http://schemas.microsoft.com/office/drawing/2014/main" id="{1BECB851-D1DA-439C-8F36-6B713C0CCA6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19853" y="4178235"/>
            <a:ext cx="2339975" cy="25193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_x755352008">
            <a:extLst>
              <a:ext uri="{FF2B5EF4-FFF2-40B4-BE49-F238E27FC236}">
                <a16:creationId xmlns:a16="http://schemas.microsoft.com/office/drawing/2014/main" id="{B21B3FB0-5062-453E-843B-221CF28818E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4196" y="1560930"/>
            <a:ext cx="2339975" cy="25193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3" name="_x755350712">
            <a:extLst>
              <a:ext uri="{FF2B5EF4-FFF2-40B4-BE49-F238E27FC236}">
                <a16:creationId xmlns:a16="http://schemas.microsoft.com/office/drawing/2014/main" id="{937A90A3-B9C6-4A6F-8E49-F7E43B795A9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4195" y="4178235"/>
            <a:ext cx="2339975" cy="25193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_x712416376">
            <a:extLst>
              <a:ext uri="{FF2B5EF4-FFF2-40B4-BE49-F238E27FC236}">
                <a16:creationId xmlns:a16="http://schemas.microsoft.com/office/drawing/2014/main" id="{AFA03566-720A-4B9A-8248-AD476F3FCAA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47381" y="1551185"/>
            <a:ext cx="2339975" cy="25193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1" name="_x712417456">
            <a:extLst>
              <a:ext uri="{FF2B5EF4-FFF2-40B4-BE49-F238E27FC236}">
                <a16:creationId xmlns:a16="http://schemas.microsoft.com/office/drawing/2014/main" id="{5DB7BD55-86E5-4875-BEA7-1E472A2634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28453" y="4178235"/>
            <a:ext cx="2339975" cy="25193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3">
            <a:extLst>
              <a:ext uri="{FF2B5EF4-FFF2-40B4-BE49-F238E27FC236}">
                <a16:creationId xmlns:a16="http://schemas.microsoft.com/office/drawing/2014/main" id="{2AB8FCCE-00E0-4AD5-9FF9-F1F87ED27D9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15356" y="1050131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98798733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그림 4">
            <a:extLst>
              <a:ext uri="{FF2B5EF4-FFF2-40B4-BE49-F238E27FC236}">
                <a16:creationId xmlns:a16="http://schemas.microsoft.com/office/drawing/2014/main" id="{5C4387DD-2145-436C-B8C8-B21586E8D54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8083" y="989351"/>
            <a:ext cx="72473" cy="28938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3163F9D2-6C3C-4245-AF8A-9283A7CAD729}"/>
              </a:ext>
            </a:extLst>
          </p:cNvPr>
          <p:cNvSpPr txBox="1"/>
          <p:nvPr/>
        </p:nvSpPr>
        <p:spPr>
          <a:xfrm>
            <a:off x="641805" y="938892"/>
            <a:ext cx="118974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b="1" dirty="0">
                <a:latin typeface="Adobe 고딕 Std B" panose="020B0800000000000000" pitchFamily="34" charset="-127"/>
                <a:ea typeface="Adobe 고딕 Std B" panose="020B0800000000000000" pitchFamily="34" charset="-127"/>
              </a:rPr>
              <a:t>분석 결과</a:t>
            </a:r>
            <a:endParaRPr lang="en-US" altLang="ko-KR" b="1" dirty="0">
              <a:latin typeface="Adobe 고딕 Std B" panose="020B0800000000000000" pitchFamily="34" charset="-127"/>
              <a:ea typeface="Adobe 고딕 Std B" panose="020B0800000000000000" pitchFamily="34" charset="-127"/>
            </a:endParaRPr>
          </a:p>
        </p:txBody>
      </p:sp>
      <p:sp>
        <p:nvSpPr>
          <p:cNvPr id="7" name="AutoShape 24">
            <a:extLst>
              <a:ext uri="{FF2B5EF4-FFF2-40B4-BE49-F238E27FC236}">
                <a16:creationId xmlns:a16="http://schemas.microsoft.com/office/drawing/2014/main" id="{EA188E11-B178-44DB-B00B-9F4D4D635CC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65577" y="967168"/>
            <a:ext cx="2816164" cy="325460"/>
          </a:xfrm>
          <a:prstGeom prst="homePlate">
            <a:avLst>
              <a:gd name="adj" fmla="val 0"/>
            </a:avLst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86364" tIns="43184" rIns="86364" bIns="44432" anchor="ctr">
            <a:spAutoFit/>
          </a:bodyPr>
          <a:lstStyle/>
          <a:p>
            <a:pPr marL="0" marR="0" lvl="0" indent="0" defTabSz="914400" eaLnBrk="1" fontAlgn="ctr" latinLnBrk="0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>
                <a:tab pos="1028290" algn="l"/>
              </a:tabLst>
              <a:defRPr/>
            </a:pPr>
            <a:r>
              <a:rPr lang="ko-KR" altLang="en-US" sz="1400" b="1" kern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/>
                </a:solidFill>
              </a:rPr>
              <a:t>외식 소비 패턴 데이터 </a:t>
            </a:r>
            <a:r>
              <a:rPr lang="en-US" altLang="ko-KR" sz="1400" b="1" kern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/>
                </a:solidFill>
              </a:rPr>
              <a:t>- </a:t>
            </a:r>
            <a:r>
              <a:rPr lang="ko-KR" altLang="en-US" sz="1400" b="1" kern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/>
                </a:solidFill>
              </a:rPr>
              <a:t>계절음식</a:t>
            </a:r>
            <a:endParaRPr kumimoji="1" lang="en-US" altLang="ko-KR" sz="1400" b="1" i="0" u="none" strike="noStrike" kern="0" cap="none" spc="0" normalizeH="0" baseline="0" noProof="0" dirty="0">
              <a:ln>
                <a:solidFill>
                  <a:srgbClr val="4F81BD">
                    <a:alpha val="0"/>
                  </a:srgbClr>
                </a:solidFill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8" name="Rectangle 11">
            <a:extLst>
              <a:ext uri="{FF2B5EF4-FFF2-40B4-BE49-F238E27FC236}">
                <a16:creationId xmlns:a16="http://schemas.microsoft.com/office/drawing/2014/main" id="{47B6AE54-DC74-4152-BEA0-1028D343A488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289091" y="1075898"/>
            <a:ext cx="108000" cy="108000"/>
          </a:xfrm>
          <a:prstGeom prst="rect">
            <a:avLst/>
          </a:prstGeom>
          <a:solidFill>
            <a:srgbClr val="0B64AF"/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>
            <a:outerShdw dist="25400" dir="2700000" algn="ctr" rotWithShape="0">
              <a:srgbClr val="919191"/>
            </a:outerShdw>
          </a:effectLst>
        </p:spPr>
        <p:txBody>
          <a:bodyPr wrap="none" lIns="36000" tIns="36000" rIns="36000" bIns="36000" anchor="ctr"/>
          <a:lstStyle/>
          <a:p>
            <a:pPr algn="ctr">
              <a:defRPr/>
            </a:pPr>
            <a:endParaRPr lang="ko-KR" altLang="en-US" sz="1600" b="1" spc="-150" dirty="0">
              <a:ln>
                <a:solidFill>
                  <a:srgbClr val="000000">
                    <a:alpha val="0"/>
                  </a:srgbClr>
                </a:solidFill>
              </a:ln>
              <a:latin typeface="맑은 고딕" pitchFamily="50" charset="-127"/>
              <a:ea typeface="맑은 고딕" pitchFamily="50" charset="-127"/>
            </a:endParaRPr>
          </a:p>
        </p:txBody>
      </p:sp>
      <p:graphicFrame>
        <p:nvGraphicFramePr>
          <p:cNvPr id="9" name="Chart 5">
            <a:extLst>
              <a:ext uri="{FF2B5EF4-FFF2-40B4-BE49-F238E27FC236}">
                <a16:creationId xmlns:a16="http://schemas.microsoft.com/office/drawing/2014/main" id="{EBAD5518-649D-481F-89AC-E4E80F4896A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08105110"/>
              </p:ext>
            </p:extLst>
          </p:nvPr>
        </p:nvGraphicFramePr>
        <p:xfrm>
          <a:off x="361529" y="1724708"/>
          <a:ext cx="2940050" cy="29520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0" name="Chart 7">
            <a:extLst>
              <a:ext uri="{FF2B5EF4-FFF2-40B4-BE49-F238E27FC236}">
                <a16:creationId xmlns:a16="http://schemas.microsoft.com/office/drawing/2014/main" id="{45EC426A-D836-4B0E-AD62-4E6D05A1E1B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29853425"/>
              </p:ext>
            </p:extLst>
          </p:nvPr>
        </p:nvGraphicFramePr>
        <p:xfrm>
          <a:off x="3239795" y="1709112"/>
          <a:ext cx="2816164" cy="29520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1" name="Chart 9">
            <a:extLst>
              <a:ext uri="{FF2B5EF4-FFF2-40B4-BE49-F238E27FC236}">
                <a16:creationId xmlns:a16="http://schemas.microsoft.com/office/drawing/2014/main" id="{8FA6058A-F5B6-403B-873A-706978A5280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35668681"/>
              </p:ext>
            </p:extLst>
          </p:nvPr>
        </p:nvGraphicFramePr>
        <p:xfrm>
          <a:off x="5950858" y="1724709"/>
          <a:ext cx="2707367" cy="29714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2" name="TextBox 11">
            <a:extLst>
              <a:ext uri="{FF2B5EF4-FFF2-40B4-BE49-F238E27FC236}">
                <a16:creationId xmlns:a16="http://schemas.microsoft.com/office/drawing/2014/main" id="{7D86B8E5-5720-4488-99F1-92EFB13FAED4}"/>
              </a:ext>
            </a:extLst>
          </p:cNvPr>
          <p:cNvSpPr txBox="1"/>
          <p:nvPr/>
        </p:nvSpPr>
        <p:spPr>
          <a:xfrm>
            <a:off x="1533525" y="4938939"/>
            <a:ext cx="59817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/>
              <a:t>- </a:t>
            </a:r>
            <a:r>
              <a:rPr lang="ko-KR" altLang="en-US" dirty="0"/>
              <a:t>월별 음식 블로그에서 냉면이 언급되는 횟수가 여름과 겨울에 현저하게 차이 난다</a:t>
            </a:r>
            <a:r>
              <a:rPr lang="en-US" altLang="ko-KR" dirty="0"/>
              <a:t>.</a:t>
            </a:r>
          </a:p>
          <a:p>
            <a:r>
              <a:rPr lang="en-US" altLang="ko-KR" dirty="0"/>
              <a:t>- </a:t>
            </a:r>
            <a:r>
              <a:rPr lang="ko-KR" altLang="en-US" dirty="0"/>
              <a:t>소비자들은 냉면을 상대적으로 여름에 많이 사 먹고 겨울에 덜 사 먹는다는 것을 알 수 있다</a:t>
            </a:r>
            <a:r>
              <a:rPr lang="en-US" altLang="ko-KR" dirty="0"/>
              <a:t>.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401406523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그림 4">
            <a:extLst>
              <a:ext uri="{FF2B5EF4-FFF2-40B4-BE49-F238E27FC236}">
                <a16:creationId xmlns:a16="http://schemas.microsoft.com/office/drawing/2014/main" id="{3FDF70AF-6C3B-4BE6-9470-119F7627890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8083" y="989351"/>
            <a:ext cx="72473" cy="28938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E24086FB-AFAD-4C7B-8720-C624B06DB3C9}"/>
              </a:ext>
            </a:extLst>
          </p:cNvPr>
          <p:cNvSpPr txBox="1"/>
          <p:nvPr/>
        </p:nvSpPr>
        <p:spPr>
          <a:xfrm>
            <a:off x="641805" y="938892"/>
            <a:ext cx="118974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b="1" dirty="0">
                <a:latin typeface="Adobe 고딕 Std B" panose="020B0800000000000000" pitchFamily="34" charset="-127"/>
                <a:ea typeface="Adobe 고딕 Std B" panose="020B0800000000000000" pitchFamily="34" charset="-127"/>
              </a:rPr>
              <a:t>분석 결과</a:t>
            </a:r>
            <a:endParaRPr lang="en-US" altLang="ko-KR" b="1" dirty="0">
              <a:latin typeface="Adobe 고딕 Std B" panose="020B0800000000000000" pitchFamily="34" charset="-127"/>
              <a:ea typeface="Adobe 고딕 Std B" panose="020B0800000000000000" pitchFamily="34" charset="-127"/>
            </a:endParaRPr>
          </a:p>
        </p:txBody>
      </p:sp>
      <p:sp>
        <p:nvSpPr>
          <p:cNvPr id="7" name="AutoShape 24">
            <a:extLst>
              <a:ext uri="{FF2B5EF4-FFF2-40B4-BE49-F238E27FC236}">
                <a16:creationId xmlns:a16="http://schemas.microsoft.com/office/drawing/2014/main" id="{9E1EBD2A-2FD4-4AE9-B4A8-D3A1DE19752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65577" y="967168"/>
            <a:ext cx="2627009" cy="325460"/>
          </a:xfrm>
          <a:prstGeom prst="homePlate">
            <a:avLst>
              <a:gd name="adj" fmla="val 0"/>
            </a:avLst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86364" tIns="43184" rIns="86364" bIns="44432" anchor="ctr">
            <a:spAutoFit/>
          </a:bodyPr>
          <a:lstStyle/>
          <a:p>
            <a:pPr marL="0" marR="0" lvl="0" indent="0" defTabSz="914400" eaLnBrk="1" fontAlgn="ctr" latinLnBrk="0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>
                <a:tab pos="1028290" algn="l"/>
              </a:tabLst>
              <a:defRPr/>
            </a:pPr>
            <a:r>
              <a:rPr kumimoji="1" lang="ko-KR" altLang="en-US" sz="1400" b="1" i="0" u="none" strike="noStrike" kern="0" cap="none" spc="0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</a:rPr>
              <a:t>냉면 재료 월별 </a:t>
            </a:r>
            <a:r>
              <a:rPr kumimoji="1" lang="ko-KR" altLang="en-US" sz="1400" b="1" i="0" u="none" strike="noStrike" kern="0" cap="none" spc="0" normalizeH="0" baseline="0" noProof="0" dirty="0" err="1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</a:rPr>
              <a:t>매출량</a:t>
            </a:r>
            <a:r>
              <a:rPr kumimoji="1" lang="en-US" altLang="ko-KR" sz="1400" b="1" i="0" u="none" strike="noStrike" kern="0" cap="none" spc="0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</a:rPr>
              <a:t>, </a:t>
            </a:r>
            <a:r>
              <a:rPr kumimoji="1" lang="ko-KR" altLang="en-US" sz="1400" b="1" i="0" u="none" strike="noStrike" kern="0" cap="none" spc="0" normalizeH="0" baseline="0" noProof="0" dirty="0" err="1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</a:rPr>
              <a:t>매입량</a:t>
            </a:r>
            <a:r>
              <a:rPr kumimoji="1" lang="ko-KR" altLang="en-US" sz="1400" b="1" i="0" u="none" strike="noStrike" kern="0" cap="none" spc="0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</a:rPr>
              <a:t> </a:t>
            </a:r>
            <a:endParaRPr kumimoji="1" lang="en-US" altLang="ko-KR" sz="1400" b="1" i="0" u="none" strike="noStrike" kern="0" cap="none" spc="0" normalizeH="0" baseline="0" noProof="0" dirty="0">
              <a:ln>
                <a:solidFill>
                  <a:srgbClr val="4F81BD">
                    <a:alpha val="0"/>
                  </a:srgbClr>
                </a:solidFill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8" name="Rectangle 11">
            <a:extLst>
              <a:ext uri="{FF2B5EF4-FFF2-40B4-BE49-F238E27FC236}">
                <a16:creationId xmlns:a16="http://schemas.microsoft.com/office/drawing/2014/main" id="{59149F90-1FC1-4BF8-98B0-A9E8A864FD23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289091" y="1075898"/>
            <a:ext cx="108000" cy="108000"/>
          </a:xfrm>
          <a:prstGeom prst="rect">
            <a:avLst/>
          </a:prstGeom>
          <a:solidFill>
            <a:srgbClr val="0B64AF"/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>
            <a:outerShdw dist="25400" dir="2700000" algn="ctr" rotWithShape="0">
              <a:srgbClr val="919191"/>
            </a:outerShdw>
          </a:effectLst>
        </p:spPr>
        <p:txBody>
          <a:bodyPr wrap="none" lIns="36000" tIns="36000" rIns="36000" bIns="36000" anchor="ctr"/>
          <a:lstStyle/>
          <a:p>
            <a:pPr algn="ctr">
              <a:defRPr/>
            </a:pPr>
            <a:endParaRPr lang="ko-KR" altLang="en-US" sz="1600" b="1" spc="-150" dirty="0">
              <a:ln>
                <a:solidFill>
                  <a:srgbClr val="000000">
                    <a:alpha val="0"/>
                  </a:srgbClr>
                </a:solidFill>
              </a:ln>
              <a:latin typeface="맑은 고딕" pitchFamily="50" charset="-127"/>
              <a:ea typeface="맑은 고딕" pitchFamily="50" charset="-127"/>
            </a:endParaRPr>
          </a:p>
        </p:txBody>
      </p:sp>
      <p:graphicFrame>
        <p:nvGraphicFramePr>
          <p:cNvPr id="9" name="Chart 11">
            <a:extLst>
              <a:ext uri="{FF2B5EF4-FFF2-40B4-BE49-F238E27FC236}">
                <a16:creationId xmlns:a16="http://schemas.microsoft.com/office/drawing/2014/main" id="{C8E51B60-C3D7-4483-BAB8-89C47954877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5069236"/>
              </p:ext>
            </p:extLst>
          </p:nvPr>
        </p:nvGraphicFramePr>
        <p:xfrm>
          <a:off x="1000361" y="1385424"/>
          <a:ext cx="2930431" cy="25199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0" name="Chart 13">
            <a:extLst>
              <a:ext uri="{FF2B5EF4-FFF2-40B4-BE49-F238E27FC236}">
                <a16:creationId xmlns:a16="http://schemas.microsoft.com/office/drawing/2014/main" id="{536B210D-FEED-4BBC-957D-D6FD68E2086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79173306"/>
              </p:ext>
            </p:extLst>
          </p:nvPr>
        </p:nvGraphicFramePr>
        <p:xfrm>
          <a:off x="5019689" y="1308224"/>
          <a:ext cx="2930431" cy="25199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1" name="Chart 15">
            <a:extLst>
              <a:ext uri="{FF2B5EF4-FFF2-40B4-BE49-F238E27FC236}">
                <a16:creationId xmlns:a16="http://schemas.microsoft.com/office/drawing/2014/main" id="{0CEF6F6C-148C-40E8-A1F6-96ED8AACB26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95889566"/>
              </p:ext>
            </p:extLst>
          </p:nvPr>
        </p:nvGraphicFramePr>
        <p:xfrm>
          <a:off x="1036827" y="4106885"/>
          <a:ext cx="3027332" cy="25199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3" name="TextBox 12">
            <a:extLst>
              <a:ext uri="{FF2B5EF4-FFF2-40B4-BE49-F238E27FC236}">
                <a16:creationId xmlns:a16="http://schemas.microsoft.com/office/drawing/2014/main" id="{EAB581CB-606C-49E7-9848-EF981E990CE6}"/>
              </a:ext>
            </a:extLst>
          </p:cNvPr>
          <p:cNvSpPr txBox="1"/>
          <p:nvPr/>
        </p:nvSpPr>
        <p:spPr>
          <a:xfrm>
            <a:off x="4876800" y="3961201"/>
            <a:ext cx="3073320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ko-KR" altLang="en-US" dirty="0"/>
              <a:t>냉면의 월별 매출</a:t>
            </a:r>
            <a:r>
              <a:rPr lang="en-US" altLang="ko-KR" dirty="0"/>
              <a:t>, </a:t>
            </a:r>
            <a:r>
              <a:rPr lang="ko-KR" altLang="en-US" dirty="0" err="1"/>
              <a:t>매입량은</a:t>
            </a:r>
            <a:r>
              <a:rPr lang="ko-KR" altLang="en-US" dirty="0"/>
              <a:t> 상대적으로 여름에 많고 겨울에 적다는 것을 알 수 있다</a:t>
            </a:r>
            <a:r>
              <a:rPr lang="en-US" altLang="ko-KR" dirty="0"/>
              <a:t>.</a:t>
            </a:r>
          </a:p>
          <a:p>
            <a:pPr marL="285750" indent="-285750">
              <a:buFontTx/>
              <a:buChar char="-"/>
            </a:pPr>
            <a:endParaRPr lang="en-US" altLang="ko-KR" dirty="0"/>
          </a:p>
          <a:p>
            <a:pPr marL="285750" indent="-285750">
              <a:buFontTx/>
              <a:buChar char="-"/>
            </a:pPr>
            <a:r>
              <a:rPr lang="ko-KR" altLang="en-US" dirty="0"/>
              <a:t>소비자의 수요에 비례하여 식재료의 매입</a:t>
            </a:r>
            <a:r>
              <a:rPr lang="en-US" altLang="ko-KR" dirty="0"/>
              <a:t>, </a:t>
            </a:r>
            <a:r>
              <a:rPr lang="ko-KR" altLang="en-US" dirty="0" err="1"/>
              <a:t>매출량도</a:t>
            </a:r>
            <a:r>
              <a:rPr lang="ko-KR" altLang="en-US" dirty="0"/>
              <a:t> 비례함을 알 수 있다</a:t>
            </a:r>
            <a:r>
              <a:rPr lang="en-US" altLang="ko-KR" dirty="0"/>
              <a:t>.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839849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4fxUP_K06US3L9DhDmh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4fxUP_K06US3L9DhDmh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4fxUP_K06US3L9DhDmh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4fxUP_K06US3L9DhDmh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4fxUP_K06US3L9DhDmh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4fxUP_K06US3L9DhDmhg"/>
</p:tagLst>
</file>

<file path=ppt/theme/theme1.xml><?xml version="1.0" encoding="utf-8"?>
<a:theme xmlns:a="http://schemas.openxmlformats.org/drawingml/2006/main" name="Hanyang_CNR Templat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NR_HYU">
      <a:majorFont>
        <a:latin typeface="Arial"/>
        <a:ea typeface="맑은 고딕"/>
        <a:cs typeface=""/>
      </a:majorFont>
      <a:minorFont>
        <a:latin typeface="Arial"/>
        <a:ea typeface="맑은 고딕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/>
      <a:lstStyle/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MS PGothic"/>
        <a:font script="Hang" typeface="맑은 고딕"/>
        <a:font script="Hans" typeface="SimSun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MS PGothic"/>
        <a:font script="Hang" typeface="맑은 고딕"/>
        <a:font script="Hans" typeface="SimSu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/>
      <a:lstStyle/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MS PGothic"/>
        <a:font script="Hang" typeface="맑은 고딕"/>
        <a:font script="Hans" typeface="SimSun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MS PGothic"/>
        <a:font script="Hang" typeface="맑은 고딕"/>
        <a:font script="Hans" typeface="SimSu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/>
      <a:lstStyle/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55</Words>
  <Application>Microsoft Office PowerPoint</Application>
  <PresentationFormat>화면 슬라이드 쇼(4:3)</PresentationFormat>
  <Paragraphs>74</Paragraphs>
  <Slides>12</Slides>
  <Notes>4</Notes>
  <HiddenSlides>0</HiddenSlides>
  <MMClips>0</MMClips>
  <ScaleCrop>false</ScaleCrop>
  <HeadingPairs>
    <vt:vector size="6" baseType="variant">
      <vt:variant>
        <vt:lpstr>사용한 글꼴</vt:lpstr>
      </vt:variant>
      <vt:variant>
        <vt:i4>9</vt:i4>
      </vt:variant>
      <vt:variant>
        <vt:lpstr>테마</vt:lpstr>
      </vt:variant>
      <vt:variant>
        <vt:i4>1</vt:i4>
      </vt:variant>
      <vt:variant>
        <vt:lpstr>슬라이드 제목</vt:lpstr>
      </vt:variant>
      <vt:variant>
        <vt:i4>12</vt:i4>
      </vt:variant>
    </vt:vector>
  </HeadingPairs>
  <TitlesOfParts>
    <vt:vector size="22" baseType="lpstr">
      <vt:lpstr>Adobe 고딕 Std B</vt:lpstr>
      <vt:lpstr>AppleGothic</vt:lpstr>
      <vt:lpstr>맑은 고딕</vt:lpstr>
      <vt:lpstr>함초롬돋움</vt:lpstr>
      <vt:lpstr>함초롬바탕</vt:lpstr>
      <vt:lpstr>Arial</vt:lpstr>
      <vt:lpstr>Calibri</vt:lpstr>
      <vt:lpstr>Tahoma</vt:lpstr>
      <vt:lpstr>Wingdings</vt:lpstr>
      <vt:lpstr>Hanyang_CNR Template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Manager/>
  <Company>Hewlett-Packard Company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재난〮재해 초동 대응용 인명구조/초기복구지원 특수목적 기계 및 기반기술 개발</dc:title>
  <dc:creator>Wansoo Kim</dc:creator>
  <cp:lastModifiedBy>Kim SooLim</cp:lastModifiedBy>
  <cp:revision>2163</cp:revision>
  <dcterms:created xsi:type="dcterms:W3CDTF">2015-03-29T19:37:06Z</dcterms:created>
  <dcterms:modified xsi:type="dcterms:W3CDTF">2021-12-02T16:36:45Z</dcterms:modified>
  <cp:version/>
</cp:coreProperties>
</file>